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7" r:id="rId2"/>
    <p:sldId id="259" r:id="rId3"/>
    <p:sldId id="258" r:id="rId4"/>
    <p:sldId id="261" r:id="rId5"/>
    <p:sldId id="264" r:id="rId6"/>
    <p:sldId id="265" r:id="rId7"/>
    <p:sldId id="262" r:id="rId8"/>
    <p:sldId id="26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F3D4C1-C916-46A2-89E9-D8289E5D9D6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97F6E-E166-42C3-AEE0-7A86025C4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826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168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639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9703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056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0248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822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977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2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155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608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731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3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969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05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0550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72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508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758FE9-4934-4B66-B5E1-EDEC9BA4ED58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3893E7-89A3-4871-A686-D82D2996B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896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568" y="147780"/>
            <a:ext cx="11615928" cy="496125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smtClean="0"/>
              <a:t>FCCR High Level Architecture Diagram</a:t>
            </a:r>
            <a:endParaRPr lang="en-US" sz="2400" b="1" dirty="0"/>
          </a:p>
        </p:txBody>
      </p:sp>
      <p:grpSp>
        <p:nvGrpSpPr>
          <p:cNvPr id="51" name="Group 50"/>
          <p:cNvGrpSpPr/>
          <p:nvPr/>
        </p:nvGrpSpPr>
        <p:grpSpPr>
          <a:xfrm>
            <a:off x="1408094" y="1000371"/>
            <a:ext cx="6709746" cy="4042738"/>
            <a:chOff x="2435219" y="738125"/>
            <a:chExt cx="6955803" cy="5147721"/>
          </a:xfrm>
        </p:grpSpPr>
        <p:sp>
          <p:nvSpPr>
            <p:cNvPr id="3" name="Isosceles Triangle 2"/>
            <p:cNvSpPr/>
            <p:nvPr/>
          </p:nvSpPr>
          <p:spPr>
            <a:xfrm>
              <a:off x="3190240" y="1645920"/>
              <a:ext cx="5445760" cy="344424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435219" y="3478942"/>
              <a:ext cx="2665101" cy="2406904"/>
              <a:chOff x="2404739" y="3478942"/>
              <a:chExt cx="2665101" cy="2406904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2404739" y="3478942"/>
                <a:ext cx="2665101" cy="2406904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CG FCCR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16" name="Flowchart: Multidocument 15"/>
              <p:cNvSpPr/>
              <p:nvPr/>
            </p:nvSpPr>
            <p:spPr>
              <a:xfrm>
                <a:off x="3601720" y="4572508"/>
                <a:ext cx="920496" cy="441452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Flowchart: Magnetic Disk 16"/>
              <p:cNvSpPr/>
              <p:nvPr/>
            </p:nvSpPr>
            <p:spPr>
              <a:xfrm>
                <a:off x="4061968" y="4040473"/>
                <a:ext cx="701040" cy="408004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Ledger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4714555" y="738125"/>
              <a:ext cx="2424878" cy="2406904"/>
              <a:chOff x="2287331" y="3478942"/>
              <a:chExt cx="2424878" cy="2406904"/>
            </a:xfrm>
          </p:grpSpPr>
          <p:sp>
            <p:nvSpPr>
              <p:cNvPr id="27" name="Oval 26"/>
              <p:cNvSpPr/>
              <p:nvPr/>
            </p:nvSpPr>
            <p:spPr>
              <a:xfrm>
                <a:off x="2287331" y="3478942"/>
                <a:ext cx="2424878" cy="2406904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Unilever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28" name="Flowchart: Multidocument 27"/>
              <p:cNvSpPr/>
              <p:nvPr/>
            </p:nvSpPr>
            <p:spPr>
              <a:xfrm>
                <a:off x="3044952" y="5257365"/>
                <a:ext cx="920496" cy="441452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lowchart: Magnetic Disk 28"/>
              <p:cNvSpPr/>
              <p:nvPr/>
            </p:nvSpPr>
            <p:spPr>
              <a:xfrm>
                <a:off x="3154680" y="4781201"/>
                <a:ext cx="701040" cy="408004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Ledger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6939280" y="3478942"/>
              <a:ext cx="2451742" cy="2406904"/>
              <a:chOff x="1905000" y="3478942"/>
              <a:chExt cx="2451742" cy="2406904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1905000" y="3478942"/>
                <a:ext cx="2451742" cy="2406904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CG MDM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36" name="Flowchart: Multidocument 35"/>
              <p:cNvSpPr/>
              <p:nvPr/>
            </p:nvSpPr>
            <p:spPr>
              <a:xfrm>
                <a:off x="2105152" y="4572508"/>
                <a:ext cx="920496" cy="441452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Flowchart: Magnetic Disk 36"/>
              <p:cNvSpPr/>
              <p:nvPr/>
            </p:nvSpPr>
            <p:spPr>
              <a:xfrm>
                <a:off x="2105152" y="4068573"/>
                <a:ext cx="701040" cy="408004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 smtClean="0">
                    <a:solidFill>
                      <a:schemeClr val="tx1"/>
                    </a:solidFill>
                  </a:rPr>
                  <a:t>Ledger</a:t>
                </a:r>
                <a:endParaRPr lang="en-US" sz="10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Rounded Rectangle 63"/>
          <p:cNvSpPr/>
          <p:nvPr/>
        </p:nvSpPr>
        <p:spPr>
          <a:xfrm>
            <a:off x="9493301" y="4486288"/>
            <a:ext cx="1261152" cy="4673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SAP</a:t>
            </a:r>
            <a:endParaRPr lang="en-US" sz="1600" b="1" dirty="0"/>
          </a:p>
        </p:txBody>
      </p:sp>
      <p:sp>
        <p:nvSpPr>
          <p:cNvPr id="65" name="Rounded Rectangle 64"/>
          <p:cNvSpPr/>
          <p:nvPr/>
        </p:nvSpPr>
        <p:spPr>
          <a:xfrm>
            <a:off x="10930848" y="4492016"/>
            <a:ext cx="1261152" cy="4673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Unilever Controller</a:t>
            </a:r>
            <a:endParaRPr lang="en-US" sz="1600" b="1" dirty="0"/>
          </a:p>
        </p:txBody>
      </p:sp>
      <p:sp>
        <p:nvSpPr>
          <p:cNvPr id="72" name="Rounded Rectangle 71"/>
          <p:cNvSpPr/>
          <p:nvPr/>
        </p:nvSpPr>
        <p:spPr>
          <a:xfrm>
            <a:off x="1215270" y="881362"/>
            <a:ext cx="7122160" cy="436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lowchart: Internal Storage 82"/>
          <p:cNvSpPr/>
          <p:nvPr/>
        </p:nvSpPr>
        <p:spPr>
          <a:xfrm>
            <a:off x="3965407" y="5933906"/>
            <a:ext cx="1595120" cy="680548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ile System or Shared Drive</a:t>
            </a:r>
            <a:endParaRPr lang="en-US" sz="1600" dirty="0"/>
          </a:p>
        </p:txBody>
      </p:sp>
      <p:sp>
        <p:nvSpPr>
          <p:cNvPr id="90" name="Up-Down Arrow 89"/>
          <p:cNvSpPr/>
          <p:nvPr/>
        </p:nvSpPr>
        <p:spPr>
          <a:xfrm>
            <a:off x="4652668" y="5250161"/>
            <a:ext cx="220597" cy="68374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Left-Right Arrow 91"/>
          <p:cNvSpPr/>
          <p:nvPr/>
        </p:nvSpPr>
        <p:spPr>
          <a:xfrm>
            <a:off x="5560527" y="6175310"/>
            <a:ext cx="4990907" cy="20517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3" name="Picture 92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34" y="5978126"/>
            <a:ext cx="592107" cy="592107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10508815" y="6577664"/>
            <a:ext cx="743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Robot</a:t>
            </a:r>
            <a:endParaRPr lang="en-US" sz="1600" b="1" dirty="0"/>
          </a:p>
        </p:txBody>
      </p:sp>
      <p:cxnSp>
        <p:nvCxnSpPr>
          <p:cNvPr id="104" name="Elbow Connector 103"/>
          <p:cNvCxnSpPr>
            <a:stCxn id="93" idx="0"/>
            <a:endCxn id="64" idx="2"/>
          </p:cNvCxnSpPr>
          <p:nvPr/>
        </p:nvCxnSpPr>
        <p:spPr>
          <a:xfrm rot="16200000" flipV="1">
            <a:off x="9973444" y="5104081"/>
            <a:ext cx="1024478" cy="72361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stCxn id="93" idx="0"/>
            <a:endCxn id="65" idx="2"/>
          </p:cNvCxnSpPr>
          <p:nvPr/>
        </p:nvCxnSpPr>
        <p:spPr>
          <a:xfrm rot="5400000" flipH="1" flipV="1">
            <a:off x="10695081" y="5111783"/>
            <a:ext cx="1018750" cy="7139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/>
          <p:cNvSpPr/>
          <p:nvPr/>
        </p:nvSpPr>
        <p:spPr>
          <a:xfrm>
            <a:off x="1492655" y="4028433"/>
            <a:ext cx="784550" cy="22117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Web App</a:t>
            </a:r>
            <a:endParaRPr lang="en-US" sz="900" dirty="0"/>
          </a:p>
        </p:txBody>
      </p:sp>
      <p:sp>
        <p:nvSpPr>
          <p:cNvPr id="123" name="Flowchart: Predefined Process 122"/>
          <p:cNvSpPr/>
          <p:nvPr/>
        </p:nvSpPr>
        <p:spPr>
          <a:xfrm>
            <a:off x="1745445" y="3535117"/>
            <a:ext cx="965277" cy="269515"/>
          </a:xfrm>
          <a:prstGeom prst="flowChartPredefinedProcess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Master Templates</a:t>
            </a:r>
            <a:endParaRPr lang="en-US" sz="800" dirty="0"/>
          </a:p>
        </p:txBody>
      </p:sp>
      <p:sp>
        <p:nvSpPr>
          <p:cNvPr id="124" name="Rectangle 123"/>
          <p:cNvSpPr/>
          <p:nvPr/>
        </p:nvSpPr>
        <p:spPr>
          <a:xfrm>
            <a:off x="1878355" y="4532991"/>
            <a:ext cx="784550" cy="2211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Interfaces</a:t>
            </a:r>
            <a:endParaRPr lang="en-US" sz="900" dirty="0"/>
          </a:p>
        </p:txBody>
      </p:sp>
      <p:sp>
        <p:nvSpPr>
          <p:cNvPr id="125" name="Rectangle 124"/>
          <p:cNvSpPr/>
          <p:nvPr/>
        </p:nvSpPr>
        <p:spPr>
          <a:xfrm>
            <a:off x="3658917" y="1766592"/>
            <a:ext cx="784550" cy="22117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Web App</a:t>
            </a:r>
            <a:endParaRPr lang="en-US" sz="900" dirty="0"/>
          </a:p>
        </p:txBody>
      </p:sp>
      <p:sp>
        <p:nvSpPr>
          <p:cNvPr id="126" name="Flowchart: Predefined Process 125"/>
          <p:cNvSpPr/>
          <p:nvPr/>
        </p:nvSpPr>
        <p:spPr>
          <a:xfrm>
            <a:off x="4231709" y="1412871"/>
            <a:ext cx="965277" cy="269515"/>
          </a:xfrm>
          <a:prstGeom prst="flowChartPredefinedProcess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Master Templates</a:t>
            </a:r>
            <a:endParaRPr lang="en-US" sz="800" dirty="0"/>
          </a:p>
        </p:txBody>
      </p:sp>
      <p:sp>
        <p:nvSpPr>
          <p:cNvPr id="127" name="Rectangle 126"/>
          <p:cNvSpPr/>
          <p:nvPr/>
        </p:nvSpPr>
        <p:spPr>
          <a:xfrm>
            <a:off x="5119708" y="1773654"/>
            <a:ext cx="784550" cy="2211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Interfaces</a:t>
            </a:r>
            <a:endParaRPr lang="en-US" sz="900" dirty="0"/>
          </a:p>
        </p:txBody>
      </p:sp>
      <p:sp>
        <p:nvSpPr>
          <p:cNvPr id="128" name="Rectangle 127"/>
          <p:cNvSpPr/>
          <p:nvPr/>
        </p:nvSpPr>
        <p:spPr>
          <a:xfrm>
            <a:off x="6877704" y="4548877"/>
            <a:ext cx="784550" cy="22117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Web App</a:t>
            </a:r>
            <a:endParaRPr lang="en-US" sz="900" dirty="0"/>
          </a:p>
        </p:txBody>
      </p:sp>
      <p:sp>
        <p:nvSpPr>
          <p:cNvPr id="129" name="Flowchart: Predefined Process 128"/>
          <p:cNvSpPr/>
          <p:nvPr/>
        </p:nvSpPr>
        <p:spPr>
          <a:xfrm>
            <a:off x="6890289" y="3596566"/>
            <a:ext cx="965277" cy="269515"/>
          </a:xfrm>
          <a:prstGeom prst="flowChartPredefinedProcess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Master Templates</a:t>
            </a:r>
            <a:endParaRPr lang="en-US" sz="800" dirty="0"/>
          </a:p>
        </p:txBody>
      </p:sp>
      <p:sp>
        <p:nvSpPr>
          <p:cNvPr id="130" name="Rectangle 129"/>
          <p:cNvSpPr/>
          <p:nvPr/>
        </p:nvSpPr>
        <p:spPr>
          <a:xfrm>
            <a:off x="7269979" y="4054646"/>
            <a:ext cx="784550" cy="2211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Interface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8425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9288" y="226251"/>
            <a:ext cx="11615928" cy="496125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smtClean="0"/>
              <a:t>FCCR Functional Flow Diagram</a:t>
            </a:r>
            <a:endParaRPr lang="en-US" sz="2400" b="1" dirty="0"/>
          </a:p>
        </p:txBody>
      </p:sp>
      <p:sp>
        <p:nvSpPr>
          <p:cNvPr id="3" name="Rounded Rectangle 2"/>
          <p:cNvSpPr/>
          <p:nvPr/>
        </p:nvSpPr>
        <p:spPr>
          <a:xfrm>
            <a:off x="1595120" y="1148080"/>
            <a:ext cx="1066800" cy="90424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nilever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9357360" y="1148080"/>
            <a:ext cx="1066800" cy="90424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G FCCR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5608320" y="1148080"/>
            <a:ext cx="1249680" cy="64008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Validation using Smart Contracts</a:t>
            </a:r>
            <a:endParaRPr lang="en-US" sz="1400" dirty="0"/>
          </a:p>
        </p:txBody>
      </p:sp>
      <p:sp>
        <p:nvSpPr>
          <p:cNvPr id="12" name="Rounded Rectangle 11"/>
          <p:cNvSpPr/>
          <p:nvPr/>
        </p:nvSpPr>
        <p:spPr>
          <a:xfrm>
            <a:off x="315597" y="3172910"/>
            <a:ext cx="1066800" cy="9042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Unilever</a:t>
            </a:r>
          </a:p>
          <a:p>
            <a:pPr algn="ctr"/>
            <a:r>
              <a:rPr lang="en-US" sz="1400" dirty="0" smtClean="0"/>
              <a:t>Controller or </a:t>
            </a:r>
          </a:p>
          <a:p>
            <a:pPr algn="ctr"/>
            <a:r>
              <a:rPr lang="en-US" sz="1400" dirty="0" smtClean="0"/>
              <a:t>SAP</a:t>
            </a:r>
            <a:endParaRPr lang="en-US" sz="1400" dirty="0"/>
          </a:p>
        </p:txBody>
      </p:sp>
      <p:sp>
        <p:nvSpPr>
          <p:cNvPr id="15" name="Rounded Rectangle 14"/>
          <p:cNvSpPr/>
          <p:nvPr/>
        </p:nvSpPr>
        <p:spPr>
          <a:xfrm>
            <a:off x="5608320" y="3291840"/>
            <a:ext cx="1249680" cy="64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hared Drive / File System</a:t>
            </a:r>
            <a:endParaRPr lang="en-US" sz="1400" dirty="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3588406" y="3384288"/>
            <a:ext cx="2019914" cy="70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346201" y="3365659"/>
            <a:ext cx="1280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.1 Pull Master Data </a:t>
            </a:r>
            <a:endParaRPr lang="en-US" sz="1000" dirty="0"/>
          </a:p>
        </p:txBody>
      </p:sp>
      <p:sp>
        <p:nvSpPr>
          <p:cNvPr id="26" name="TextBox 25"/>
          <p:cNvSpPr txBox="1"/>
          <p:nvPr/>
        </p:nvSpPr>
        <p:spPr>
          <a:xfrm>
            <a:off x="3641089" y="3168729"/>
            <a:ext cx="19278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.2 Feed data into template files</a:t>
            </a:r>
            <a:endParaRPr lang="en-US" sz="1000" dirty="0"/>
          </a:p>
        </p:txBody>
      </p:sp>
      <p:cxnSp>
        <p:nvCxnSpPr>
          <p:cNvPr id="30" name="Straight Arrow Connector 29"/>
          <p:cNvCxnSpPr>
            <a:endCxn id="11" idx="1"/>
          </p:cNvCxnSpPr>
          <p:nvPr/>
        </p:nvCxnSpPr>
        <p:spPr>
          <a:xfrm>
            <a:off x="2661920" y="1468120"/>
            <a:ext cx="2946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166110" y="1221899"/>
            <a:ext cx="2059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2.1 Cost Center Creation request </a:t>
            </a:r>
            <a:endParaRPr lang="en-US" sz="1000" dirty="0"/>
          </a:p>
        </p:txBody>
      </p:sp>
      <p:cxnSp>
        <p:nvCxnSpPr>
          <p:cNvPr id="45" name="Straight Arrow Connector 44"/>
          <p:cNvCxnSpPr>
            <a:stCxn id="11" idx="3"/>
          </p:cNvCxnSpPr>
          <p:nvPr/>
        </p:nvCxnSpPr>
        <p:spPr>
          <a:xfrm>
            <a:off x="6858000" y="1468120"/>
            <a:ext cx="24993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7077710" y="1221899"/>
            <a:ext cx="2059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smtClean="0"/>
              <a:t>2.2 </a:t>
            </a:r>
            <a:r>
              <a:rPr lang="en-US" sz="1000" dirty="0" smtClean="0"/>
              <a:t>Request created Successfully </a:t>
            </a:r>
            <a:endParaRPr lang="en-US" sz="1000" dirty="0"/>
          </a:p>
        </p:txBody>
      </p:sp>
      <p:cxnSp>
        <p:nvCxnSpPr>
          <p:cNvPr id="49" name="Straight Arrow Connector 48"/>
          <p:cNvCxnSpPr/>
          <p:nvPr/>
        </p:nvCxnSpPr>
        <p:spPr>
          <a:xfrm>
            <a:off x="2661920" y="1944608"/>
            <a:ext cx="66954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726179" y="1710913"/>
            <a:ext cx="2059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3</a:t>
            </a:r>
            <a:r>
              <a:rPr lang="en-US" sz="1000" dirty="0" smtClean="0"/>
              <a:t> Query Resolution </a:t>
            </a:r>
            <a:endParaRPr lang="en-US" sz="1000" dirty="0"/>
          </a:p>
        </p:txBody>
      </p:sp>
      <p:sp>
        <p:nvSpPr>
          <p:cNvPr id="51" name="Rounded Rectangle 50"/>
          <p:cNvSpPr/>
          <p:nvPr/>
        </p:nvSpPr>
        <p:spPr>
          <a:xfrm>
            <a:off x="9357360" y="3016504"/>
            <a:ext cx="1066800" cy="90424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G MDM</a:t>
            </a:r>
            <a:endParaRPr lang="en-US" dirty="0"/>
          </a:p>
        </p:txBody>
      </p:sp>
      <p:cxnSp>
        <p:nvCxnSpPr>
          <p:cNvPr id="57" name="Straight Connector 56"/>
          <p:cNvCxnSpPr>
            <a:stCxn id="10" idx="2"/>
            <a:endCxn id="51" idx="0"/>
          </p:cNvCxnSpPr>
          <p:nvPr/>
        </p:nvCxnSpPr>
        <p:spPr>
          <a:xfrm>
            <a:off x="9890760" y="2052320"/>
            <a:ext cx="0" cy="9641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7264400" y="3961966"/>
            <a:ext cx="20624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4.2  Cost Center Pre-Validation</a:t>
            </a:r>
            <a:endParaRPr lang="en-US" sz="1000" dirty="0"/>
          </a:p>
        </p:txBody>
      </p:sp>
      <p:sp>
        <p:nvSpPr>
          <p:cNvPr id="62" name="Rounded Rectangle 61"/>
          <p:cNvSpPr/>
          <p:nvPr/>
        </p:nvSpPr>
        <p:spPr>
          <a:xfrm>
            <a:off x="9265920" y="4424300"/>
            <a:ext cx="1249680" cy="64008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Validation using Smart Contracts</a:t>
            </a:r>
            <a:endParaRPr lang="en-US" sz="1400" dirty="0"/>
          </a:p>
        </p:txBody>
      </p:sp>
      <p:cxnSp>
        <p:nvCxnSpPr>
          <p:cNvPr id="65" name="Straight Arrow Connector 64"/>
          <p:cNvCxnSpPr>
            <a:stCxn id="51" idx="2"/>
            <a:endCxn id="62" idx="0"/>
          </p:cNvCxnSpPr>
          <p:nvPr/>
        </p:nvCxnSpPr>
        <p:spPr>
          <a:xfrm>
            <a:off x="9890760" y="3920744"/>
            <a:ext cx="0" cy="5035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9851389" y="4013746"/>
            <a:ext cx="2059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4.1 Process and Submit CC Request </a:t>
            </a:r>
            <a:endParaRPr lang="en-US" sz="1000" dirty="0"/>
          </a:p>
        </p:txBody>
      </p:sp>
      <p:cxnSp>
        <p:nvCxnSpPr>
          <p:cNvPr id="68" name="Straight Arrow Connector 67"/>
          <p:cNvCxnSpPr>
            <a:stCxn id="62" idx="2"/>
          </p:cNvCxnSpPr>
          <p:nvPr/>
        </p:nvCxnSpPr>
        <p:spPr>
          <a:xfrm>
            <a:off x="9890760" y="5064380"/>
            <a:ext cx="0" cy="5541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lowchart: Connector 68"/>
          <p:cNvSpPr/>
          <p:nvPr/>
        </p:nvSpPr>
        <p:spPr>
          <a:xfrm>
            <a:off x="9326880" y="5618480"/>
            <a:ext cx="1120140" cy="66087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st Center Created</a:t>
            </a:r>
            <a:endParaRPr lang="en-US" sz="1400" dirty="0"/>
          </a:p>
        </p:txBody>
      </p:sp>
      <p:cxnSp>
        <p:nvCxnSpPr>
          <p:cNvPr id="83" name="Elbow Connector 82"/>
          <p:cNvCxnSpPr>
            <a:stCxn id="15" idx="3"/>
            <a:endCxn id="62" idx="1"/>
          </p:cNvCxnSpPr>
          <p:nvPr/>
        </p:nvCxnSpPr>
        <p:spPr>
          <a:xfrm>
            <a:off x="6858000" y="3611880"/>
            <a:ext cx="2407920" cy="1132460"/>
          </a:xfrm>
          <a:prstGeom prst="bentConnector3">
            <a:avLst/>
          </a:prstGeom>
          <a:ln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endCxn id="15" idx="2"/>
          </p:cNvCxnSpPr>
          <p:nvPr/>
        </p:nvCxnSpPr>
        <p:spPr>
          <a:xfrm rot="10800000">
            <a:off x="6233160" y="3931920"/>
            <a:ext cx="3160396" cy="200794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9851389" y="5245795"/>
            <a:ext cx="2059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4.3 CC create Request Successful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6399212" y="5673010"/>
            <a:ext cx="2862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4.4  Generate files based on Cost Center Creation</a:t>
            </a:r>
            <a:endParaRPr lang="en-US" sz="1000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3517899" y="3779521"/>
            <a:ext cx="2090421" cy="115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3435985" y="3815330"/>
            <a:ext cx="22682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5.1 Refer master files and CC creation files and generate master data files for Sundry IC System</a:t>
            </a:r>
            <a:endParaRPr lang="en-US" sz="1000" dirty="0"/>
          </a:p>
        </p:txBody>
      </p:sp>
      <p:sp>
        <p:nvSpPr>
          <p:cNvPr id="102" name="Bevel 101"/>
          <p:cNvSpPr/>
          <p:nvPr/>
        </p:nvSpPr>
        <p:spPr>
          <a:xfrm>
            <a:off x="2141221" y="4810372"/>
            <a:ext cx="1432560" cy="1026540"/>
          </a:xfrm>
          <a:prstGeom prst="bevel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ndry IC System</a:t>
            </a:r>
            <a:endParaRPr lang="en-US" dirty="0"/>
          </a:p>
        </p:txBody>
      </p:sp>
      <p:cxnSp>
        <p:nvCxnSpPr>
          <p:cNvPr id="109" name="Straight Connector 108"/>
          <p:cNvCxnSpPr>
            <a:stCxn id="102" idx="0"/>
          </p:cNvCxnSpPr>
          <p:nvPr/>
        </p:nvCxnSpPr>
        <p:spPr>
          <a:xfrm>
            <a:off x="3573781" y="5323642"/>
            <a:ext cx="2212338" cy="83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V="1">
            <a:off x="5786119" y="3920744"/>
            <a:ext cx="0" cy="14112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3858260" y="5323642"/>
            <a:ext cx="19278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6</a:t>
            </a:r>
            <a:r>
              <a:rPr lang="en-US" sz="1000" dirty="0" smtClean="0"/>
              <a:t> Refer MDM files generated by FCCR system to create Sundry request</a:t>
            </a:r>
            <a:endParaRPr lang="en-US" sz="1000" dirty="0"/>
          </a:p>
        </p:txBody>
      </p:sp>
      <p:pic>
        <p:nvPicPr>
          <p:cNvPr id="114" name="Picture 113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868" y="3140935"/>
            <a:ext cx="821031" cy="821031"/>
          </a:xfrm>
          <a:prstGeom prst="rect">
            <a:avLst/>
          </a:prstGeom>
        </p:spPr>
      </p:pic>
      <p:cxnSp>
        <p:nvCxnSpPr>
          <p:cNvPr id="121" name="Straight Arrow Connector 120"/>
          <p:cNvCxnSpPr/>
          <p:nvPr/>
        </p:nvCxnSpPr>
        <p:spPr>
          <a:xfrm>
            <a:off x="1382397" y="3611880"/>
            <a:ext cx="13144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/>
          <p:nvPr/>
        </p:nvCxnSpPr>
        <p:spPr>
          <a:xfrm flipH="1">
            <a:off x="1382397" y="3815330"/>
            <a:ext cx="12795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422717" y="3804629"/>
            <a:ext cx="128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5.2 Update CC details in SAP </a:t>
            </a:r>
            <a:endParaRPr lang="en-US" sz="1000" dirty="0"/>
          </a:p>
        </p:txBody>
      </p:sp>
      <p:cxnSp>
        <p:nvCxnSpPr>
          <p:cNvPr id="5" name="Elbow Connector 4"/>
          <p:cNvCxnSpPr>
            <a:stCxn id="3" idx="1"/>
            <a:endCxn id="15" idx="0"/>
          </p:cNvCxnSpPr>
          <p:nvPr/>
        </p:nvCxnSpPr>
        <p:spPr>
          <a:xfrm rot="10800000" flipH="1" flipV="1">
            <a:off x="1595120" y="1600200"/>
            <a:ext cx="4638040" cy="1691640"/>
          </a:xfrm>
          <a:prstGeom prst="bentConnector4">
            <a:avLst>
              <a:gd name="adj1" fmla="val -4929"/>
              <a:gd name="adj2" fmla="val 63363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979337" y="2457397"/>
            <a:ext cx="26244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ull Master </a:t>
            </a:r>
            <a:r>
              <a:rPr lang="en-US" sz="100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Data </a:t>
            </a:r>
            <a:r>
              <a:rPr lang="en-US" sz="100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(frequency based integration)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264400" y="2703618"/>
            <a:ext cx="4750816" cy="4044654"/>
          </a:xfrm>
          <a:prstGeom prst="rect">
            <a:avLst/>
          </a:prstGeom>
          <a:noFill/>
          <a:ln w="28575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ular Callout 8"/>
          <p:cNvSpPr/>
          <p:nvPr/>
        </p:nvSpPr>
        <p:spPr>
          <a:xfrm>
            <a:off x="10643870" y="2052320"/>
            <a:ext cx="1267458" cy="550338"/>
          </a:xfrm>
          <a:prstGeom prst="wedgeRoundRect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smtClean="0">
                <a:solidFill>
                  <a:schemeClr val="tx1"/>
                </a:solidFill>
              </a:rPr>
              <a:t>Need more details from MDG team on this</a:t>
            </a:r>
            <a:endParaRPr lang="en-US" sz="1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506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9288" y="226251"/>
            <a:ext cx="11615928" cy="496125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smtClean="0"/>
              <a:t>Sundry Invoicing High Level Architecture Diagram</a:t>
            </a:r>
            <a:endParaRPr lang="en-US" sz="2400" b="1" dirty="0"/>
          </a:p>
        </p:txBody>
      </p:sp>
      <p:grpSp>
        <p:nvGrpSpPr>
          <p:cNvPr id="6" name="Group 5"/>
          <p:cNvGrpSpPr/>
          <p:nvPr/>
        </p:nvGrpSpPr>
        <p:grpSpPr>
          <a:xfrm>
            <a:off x="2161497" y="955041"/>
            <a:ext cx="6423705" cy="4492610"/>
            <a:chOff x="2161496" y="955040"/>
            <a:chExt cx="7491774" cy="5533057"/>
          </a:xfrm>
        </p:grpSpPr>
        <p:sp>
          <p:nvSpPr>
            <p:cNvPr id="4" name="Hexagon 3"/>
            <p:cNvSpPr/>
            <p:nvPr/>
          </p:nvSpPr>
          <p:spPr>
            <a:xfrm>
              <a:off x="3434080" y="1554480"/>
              <a:ext cx="5110480" cy="4175760"/>
            </a:xfrm>
            <a:prstGeom prst="hexag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2161496" y="2723892"/>
              <a:ext cx="2288624" cy="1850042"/>
              <a:chOff x="3202734" y="802656"/>
              <a:chExt cx="2288624" cy="1850042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3202734" y="802656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U2K2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32" name="Flowchart: Multidocument 31"/>
              <p:cNvSpPr/>
              <p:nvPr/>
            </p:nvSpPr>
            <p:spPr>
              <a:xfrm>
                <a:off x="4618243" y="1726204"/>
                <a:ext cx="790729" cy="370603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Flowchart: Magnetic Disk 32"/>
              <p:cNvSpPr/>
              <p:nvPr/>
            </p:nvSpPr>
            <p:spPr>
              <a:xfrm>
                <a:off x="4682977" y="1280510"/>
                <a:ext cx="602211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3431415" y="1623017"/>
                <a:ext cx="784550" cy="22117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40" name="Flowchart: Predefined Process 39"/>
              <p:cNvSpPr/>
              <p:nvPr/>
            </p:nvSpPr>
            <p:spPr>
              <a:xfrm>
                <a:off x="3443220" y="1200759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562496" y="2003508"/>
                <a:ext cx="784550" cy="2211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>
              <a:off x="3281680" y="955040"/>
              <a:ext cx="2288624" cy="1850042"/>
              <a:chOff x="3129280" y="802640"/>
              <a:chExt cx="2288624" cy="1850042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3129280" y="802640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Cordillera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46" name="Flowchart: Multidocument 45"/>
              <p:cNvSpPr/>
              <p:nvPr/>
            </p:nvSpPr>
            <p:spPr>
              <a:xfrm>
                <a:off x="4156752" y="2072791"/>
                <a:ext cx="790729" cy="370603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Flowchart: Magnetic Disk 46"/>
              <p:cNvSpPr/>
              <p:nvPr/>
            </p:nvSpPr>
            <p:spPr>
              <a:xfrm>
                <a:off x="4552117" y="1642374"/>
                <a:ext cx="602211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3244534" y="1592459"/>
                <a:ext cx="784550" cy="22117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50" name="Flowchart: Predefined Process 49"/>
              <p:cNvSpPr/>
              <p:nvPr/>
            </p:nvSpPr>
            <p:spPr>
              <a:xfrm>
                <a:off x="3443220" y="1200759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3311435" y="1929391"/>
                <a:ext cx="784550" cy="2211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2933946" y="4638055"/>
              <a:ext cx="2288624" cy="1850042"/>
              <a:chOff x="3147853" y="714018"/>
              <a:chExt cx="2288624" cy="1850042"/>
            </a:xfrm>
          </p:grpSpPr>
          <p:sp>
            <p:nvSpPr>
              <p:cNvPr id="54" name="Oval 53"/>
              <p:cNvSpPr/>
              <p:nvPr/>
            </p:nvSpPr>
            <p:spPr>
              <a:xfrm>
                <a:off x="3147853" y="714018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Sirius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56" name="Flowchart: Multidocument 55"/>
              <p:cNvSpPr/>
              <p:nvPr/>
            </p:nvSpPr>
            <p:spPr>
              <a:xfrm>
                <a:off x="4623464" y="1477466"/>
                <a:ext cx="790729" cy="336169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lowchart: Magnetic Disk 56"/>
              <p:cNvSpPr/>
              <p:nvPr/>
            </p:nvSpPr>
            <p:spPr>
              <a:xfrm>
                <a:off x="4602118" y="1070822"/>
                <a:ext cx="602211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3244534" y="1592459"/>
                <a:ext cx="784550" cy="22117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59" name="Flowchart: Predefined Process 58"/>
              <p:cNvSpPr/>
              <p:nvPr/>
            </p:nvSpPr>
            <p:spPr>
              <a:xfrm>
                <a:off x="3443220" y="1200759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3463371" y="1939816"/>
                <a:ext cx="784550" cy="2211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6659389" y="955040"/>
              <a:ext cx="2288624" cy="1850042"/>
              <a:chOff x="3129280" y="802640"/>
              <a:chExt cx="2288624" cy="1850042"/>
            </a:xfrm>
          </p:grpSpPr>
          <p:sp>
            <p:nvSpPr>
              <p:cNvPr id="62" name="Oval 61"/>
              <p:cNvSpPr/>
              <p:nvPr/>
            </p:nvSpPr>
            <p:spPr>
              <a:xfrm>
                <a:off x="3129280" y="802640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CODA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63" name="Flowchart: Multidocument 62"/>
              <p:cNvSpPr/>
              <p:nvPr/>
            </p:nvSpPr>
            <p:spPr>
              <a:xfrm>
                <a:off x="3439172" y="1974392"/>
                <a:ext cx="790729" cy="370603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Flowchart: Magnetic Disk 65"/>
              <p:cNvSpPr/>
              <p:nvPr/>
            </p:nvSpPr>
            <p:spPr>
              <a:xfrm>
                <a:off x="3382516" y="1524132"/>
                <a:ext cx="602211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4400520" y="1695394"/>
                <a:ext cx="784550" cy="22117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70" name="Flowchart: Predefined Process 69"/>
              <p:cNvSpPr/>
              <p:nvPr/>
            </p:nvSpPr>
            <p:spPr>
              <a:xfrm>
                <a:off x="4234794" y="1294343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4415521" y="2007303"/>
                <a:ext cx="784550" cy="2211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7364646" y="2908093"/>
              <a:ext cx="2288624" cy="1850042"/>
              <a:chOff x="3129281" y="802640"/>
              <a:chExt cx="2288624" cy="1850042"/>
            </a:xfrm>
          </p:grpSpPr>
          <p:sp>
            <p:nvSpPr>
              <p:cNvPr id="74" name="Oval 73"/>
              <p:cNvSpPr/>
              <p:nvPr/>
            </p:nvSpPr>
            <p:spPr>
              <a:xfrm>
                <a:off x="3129281" y="802640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 smtClean="0">
                    <a:solidFill>
                      <a:schemeClr val="tx1"/>
                    </a:solidFill>
                  </a:rPr>
                  <a:t>Fusion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75" name="Flowchart: Multidocument 74"/>
              <p:cNvSpPr/>
              <p:nvPr/>
            </p:nvSpPr>
            <p:spPr>
              <a:xfrm>
                <a:off x="3258536" y="1703593"/>
                <a:ext cx="790729" cy="370603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Flowchart: Magnetic Disk 75"/>
              <p:cNvSpPr/>
              <p:nvPr/>
            </p:nvSpPr>
            <p:spPr>
              <a:xfrm>
                <a:off x="3392506" y="1199370"/>
                <a:ext cx="602211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4400520" y="1695394"/>
                <a:ext cx="784550" cy="22117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78" name="Flowchart: Predefined Process 77"/>
              <p:cNvSpPr/>
              <p:nvPr/>
            </p:nvSpPr>
            <p:spPr>
              <a:xfrm>
                <a:off x="4325157" y="1313585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4415521" y="2007303"/>
                <a:ext cx="784550" cy="221176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  <p:grpSp>
          <p:nvGrpSpPr>
            <p:cNvPr id="80" name="Group 79"/>
            <p:cNvGrpSpPr/>
            <p:nvPr/>
          </p:nvGrpSpPr>
          <p:grpSpPr>
            <a:xfrm>
              <a:off x="6393541" y="4620479"/>
              <a:ext cx="2288624" cy="1850042"/>
              <a:chOff x="2863432" y="689052"/>
              <a:chExt cx="2288624" cy="1850042"/>
            </a:xfrm>
          </p:grpSpPr>
          <p:sp>
            <p:nvSpPr>
              <p:cNvPr id="81" name="Oval 80"/>
              <p:cNvSpPr/>
              <p:nvPr/>
            </p:nvSpPr>
            <p:spPr>
              <a:xfrm>
                <a:off x="2863432" y="689052"/>
                <a:ext cx="2288624" cy="1850042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 </a:t>
                </a:r>
                <a:r>
                  <a:rPr lang="en-US" b="1" dirty="0" smtClean="0">
                    <a:solidFill>
                      <a:schemeClr val="tx1"/>
                    </a:solidFill>
                  </a:rPr>
                  <a:t>    CG AR/AP</a:t>
                </a:r>
              </a:p>
              <a:p>
                <a:pPr algn="ctr"/>
                <a:endParaRPr lang="en-US" b="1" dirty="0" smtClean="0">
                  <a:solidFill>
                    <a:schemeClr val="tx1"/>
                  </a:solidFill>
                </a:endParaRPr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 smtClean="0"/>
              </a:p>
              <a:p>
                <a:pPr algn="ctr"/>
                <a:endParaRPr lang="en-US" dirty="0"/>
              </a:p>
              <a:p>
                <a:pPr algn="ctr"/>
                <a:endParaRPr lang="en-US" dirty="0"/>
              </a:p>
            </p:txBody>
          </p:sp>
          <p:sp>
            <p:nvSpPr>
              <p:cNvPr id="82" name="Flowchart: Multidocument 81"/>
              <p:cNvSpPr/>
              <p:nvPr/>
            </p:nvSpPr>
            <p:spPr>
              <a:xfrm>
                <a:off x="3109247" y="1425163"/>
                <a:ext cx="790729" cy="370603"/>
              </a:xfrm>
              <a:prstGeom prst="flowChartMultidocumen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Smart Contracts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Flowchart: Magnetic Disk 82"/>
              <p:cNvSpPr/>
              <p:nvPr/>
            </p:nvSpPr>
            <p:spPr>
              <a:xfrm>
                <a:off x="3138066" y="1047452"/>
                <a:ext cx="602210" cy="342523"/>
              </a:xfrm>
              <a:prstGeom prst="flowChartMagneticDisk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>
                    <a:solidFill>
                      <a:schemeClr val="tx1"/>
                    </a:solidFill>
                  </a:rPr>
                  <a:t>Ledger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4239706" y="1410473"/>
                <a:ext cx="784550" cy="22117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Web App</a:t>
                </a:r>
                <a:endParaRPr lang="en-US" sz="900" dirty="0"/>
              </a:p>
            </p:txBody>
          </p:sp>
          <p:sp>
            <p:nvSpPr>
              <p:cNvPr id="85" name="Flowchart: Predefined Process 84"/>
              <p:cNvSpPr/>
              <p:nvPr/>
            </p:nvSpPr>
            <p:spPr>
              <a:xfrm>
                <a:off x="3525105" y="2042983"/>
                <a:ext cx="965277" cy="269515"/>
              </a:xfrm>
              <a:prstGeom prst="flowChartPredefinedProcess">
                <a:avLst/>
              </a:prstGeom>
              <a:solidFill>
                <a:schemeClr val="accent4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 smtClean="0"/>
                  <a:t>Master Templates</a:t>
                </a:r>
                <a:endParaRPr lang="en-US" sz="800" dirty="0"/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4222219" y="1731479"/>
                <a:ext cx="784550" cy="221177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/>
                  <a:t>Interfaces</a:t>
                </a:r>
                <a:endParaRPr lang="en-US" sz="900" dirty="0"/>
              </a:p>
            </p:txBody>
          </p:sp>
        </p:grpSp>
      </p:grpSp>
      <p:sp>
        <p:nvSpPr>
          <p:cNvPr id="87" name="Rounded Rectangle 86"/>
          <p:cNvSpPr/>
          <p:nvPr/>
        </p:nvSpPr>
        <p:spPr>
          <a:xfrm>
            <a:off x="10331715" y="4582095"/>
            <a:ext cx="1261152" cy="4233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SAP</a:t>
            </a:r>
            <a:endParaRPr lang="en-US" sz="1600" b="1" dirty="0"/>
          </a:p>
        </p:txBody>
      </p:sp>
      <p:sp>
        <p:nvSpPr>
          <p:cNvPr id="89" name="Flowchart: Internal Storage 88"/>
          <p:cNvSpPr/>
          <p:nvPr/>
        </p:nvSpPr>
        <p:spPr>
          <a:xfrm>
            <a:off x="4080211" y="6155999"/>
            <a:ext cx="1595120" cy="616428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hare Point</a:t>
            </a:r>
            <a:endParaRPr lang="en-US" sz="1600" dirty="0"/>
          </a:p>
        </p:txBody>
      </p:sp>
      <p:sp>
        <p:nvSpPr>
          <p:cNvPr id="90" name="Up-Down Arrow 89"/>
          <p:cNvSpPr/>
          <p:nvPr/>
        </p:nvSpPr>
        <p:spPr>
          <a:xfrm>
            <a:off x="4767060" y="5669279"/>
            <a:ext cx="211557" cy="49131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Left-Right Arrow 90"/>
          <p:cNvSpPr/>
          <p:nvPr/>
        </p:nvSpPr>
        <p:spPr>
          <a:xfrm>
            <a:off x="5675331" y="6352613"/>
            <a:ext cx="4990907" cy="185839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" name="Picture 91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6238" y="6191886"/>
            <a:ext cx="592107" cy="536320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1677744" y="722376"/>
            <a:ext cx="7101840" cy="4946903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stCxn id="92" idx="0"/>
            <a:endCxn id="87" idx="2"/>
          </p:cNvCxnSpPr>
          <p:nvPr/>
        </p:nvCxnSpPr>
        <p:spPr>
          <a:xfrm flipH="1" flipV="1">
            <a:off x="10962291" y="5005421"/>
            <a:ext cx="1" cy="118646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10666238" y="6639058"/>
            <a:ext cx="743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Robot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68759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72356"/>
            <a:ext cx="10515600" cy="369282"/>
          </a:xfrm>
        </p:spPr>
        <p:txBody>
          <a:bodyPr>
            <a:normAutofit fontScale="90000"/>
          </a:bodyPr>
          <a:lstStyle/>
          <a:p>
            <a:r>
              <a:rPr lang="en-US" sz="2400" b="1" smtClean="0"/>
              <a:t>Sundry Manual Approval Functional Flow Diagram </a:t>
            </a:r>
            <a:endParaRPr lang="en-US" sz="2400" b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1313656" y="765420"/>
            <a:ext cx="8296688" cy="5146558"/>
            <a:chOff x="1683773" y="1494503"/>
            <a:chExt cx="9946314" cy="6314930"/>
          </a:xfrm>
        </p:grpSpPr>
        <p:sp>
          <p:nvSpPr>
            <p:cNvPr id="4" name="TextBox 3"/>
            <p:cNvSpPr txBox="1"/>
            <p:nvPr/>
          </p:nvSpPr>
          <p:spPr>
            <a:xfrm>
              <a:off x="2303207" y="3592016"/>
              <a:ext cx="9326880" cy="2077492"/>
            </a:xfrm>
            <a:prstGeom prst="rect">
              <a:avLst/>
            </a:prstGeom>
            <a:noFill/>
          </p:spPr>
          <p:txBody>
            <a:bodyPr wrap="square" tIns="91440" rIns="91440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683773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R Country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8443451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 Country</a:t>
              </a:r>
            </a:p>
          </p:txBody>
        </p:sp>
        <p:cxnSp>
          <p:nvCxnSpPr>
            <p:cNvPr id="13" name="Straight Arrow Connector 12"/>
            <p:cNvCxnSpPr>
              <a:stCxn id="6" idx="3"/>
              <a:endCxn id="2" idx="1"/>
            </p:cNvCxnSpPr>
            <p:nvPr/>
          </p:nvCxnSpPr>
          <p:spPr>
            <a:xfrm>
              <a:off x="3650225" y="1976284"/>
              <a:ext cx="181896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/>
            <p:cNvSpPr/>
            <p:nvPr/>
          </p:nvSpPr>
          <p:spPr>
            <a:xfrm>
              <a:off x="5469193" y="1494503"/>
              <a:ext cx="1042220" cy="96356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utomation through Smart Contracts</a:t>
              </a:r>
            </a:p>
          </p:txBody>
        </p:sp>
        <p:cxnSp>
          <p:nvCxnSpPr>
            <p:cNvPr id="10" name="Straight Arrow Connector 9"/>
            <p:cNvCxnSpPr>
              <a:stCxn id="2" idx="3"/>
              <a:endCxn id="8" idx="1"/>
            </p:cNvCxnSpPr>
            <p:nvPr/>
          </p:nvCxnSpPr>
          <p:spPr>
            <a:xfrm flipV="1">
              <a:off x="6511413" y="1976284"/>
              <a:ext cx="193203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3719053" y="1710814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1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Initiated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526161" y="1710812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2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reated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028725" y="2617453"/>
              <a:ext cx="2548053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2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pproved by AP Country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296882" y="4624266"/>
              <a:ext cx="1718527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Post Request </a:t>
              </a:r>
              <a:r>
                <a:rPr lang="en-US" sz="100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to 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SAP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683773" y="4166190"/>
              <a:ext cx="9103978" cy="3643243"/>
              <a:chOff x="1584427" y="3736513"/>
              <a:chExt cx="9103978" cy="3643243"/>
            </a:xfrm>
          </p:grpSpPr>
          <p:sp>
            <p:nvSpPr>
              <p:cNvPr id="9" name="Rounded Rectangle 8"/>
              <p:cNvSpPr/>
              <p:nvPr/>
            </p:nvSpPr>
            <p:spPr>
              <a:xfrm>
                <a:off x="2303207" y="3736513"/>
                <a:ext cx="7669162" cy="265545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smtClean="0">
                    <a:solidFill>
                      <a:schemeClr val="tx2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G Admin</a:t>
                </a:r>
                <a:endPara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53" name="Group 52"/>
              <p:cNvGrpSpPr/>
              <p:nvPr/>
            </p:nvGrpSpPr>
            <p:grpSpPr>
              <a:xfrm>
                <a:off x="1584427" y="3997339"/>
                <a:ext cx="2776609" cy="3381173"/>
                <a:chOff x="1225121" y="4021225"/>
                <a:chExt cx="2776609" cy="3381173"/>
              </a:xfrm>
            </p:grpSpPr>
            <p:sp>
              <p:nvSpPr>
                <p:cNvPr id="14" name="Rounded Rectangle 13"/>
                <p:cNvSpPr/>
                <p:nvPr/>
              </p:nvSpPr>
              <p:spPr>
                <a:xfrm>
                  <a:off x="1225121" y="6694475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R Country)</a:t>
                  </a:r>
                </a:p>
              </p:txBody>
            </p:sp>
            <p:cxnSp>
              <p:nvCxnSpPr>
                <p:cNvPr id="34" name="Straight Arrow Connector 33"/>
                <p:cNvCxnSpPr/>
                <p:nvPr/>
              </p:nvCxnSpPr>
              <p:spPr>
                <a:xfrm flipH="1">
                  <a:off x="2719659" y="4021225"/>
                  <a:ext cx="3877" cy="976589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Arrow Connector 35"/>
                <p:cNvCxnSpPr/>
                <p:nvPr/>
              </p:nvCxnSpPr>
              <p:spPr>
                <a:xfrm flipH="1" flipV="1">
                  <a:off x="3993953" y="4021225"/>
                  <a:ext cx="7777" cy="1227432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/>
              <p:cNvGrpSpPr/>
              <p:nvPr/>
            </p:nvGrpSpPr>
            <p:grpSpPr>
              <a:xfrm>
                <a:off x="7862857" y="4001825"/>
                <a:ext cx="2447701" cy="3377931"/>
                <a:chOff x="5894438" y="4021225"/>
                <a:chExt cx="2447701" cy="3377931"/>
              </a:xfrm>
            </p:grpSpPr>
            <p:sp>
              <p:nvSpPr>
                <p:cNvPr id="21" name="Rounded Rectangle 20"/>
                <p:cNvSpPr/>
                <p:nvPr/>
              </p:nvSpPr>
              <p:spPr>
                <a:xfrm>
                  <a:off x="6375687" y="6691233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P Country)</a:t>
                  </a:r>
                </a:p>
              </p:txBody>
            </p:sp>
            <p:cxnSp>
              <p:nvCxnSpPr>
                <p:cNvPr id="37" name="Straight Arrow Connector 36"/>
                <p:cNvCxnSpPr/>
                <p:nvPr/>
              </p:nvCxnSpPr>
              <p:spPr>
                <a:xfrm>
                  <a:off x="5894438" y="4021225"/>
                  <a:ext cx="4282" cy="1222944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Arrow Connector 37"/>
                <p:cNvCxnSpPr/>
                <p:nvPr/>
              </p:nvCxnSpPr>
              <p:spPr>
                <a:xfrm flipH="1" flipV="1">
                  <a:off x="7123471" y="4021225"/>
                  <a:ext cx="9830" cy="1222945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" name="TextBox 51"/>
              <p:cNvSpPr txBox="1"/>
              <p:nvPr/>
            </p:nvSpPr>
            <p:spPr>
              <a:xfrm>
                <a:off x="3555068" y="4385776"/>
                <a:ext cx="267690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6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Download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Invoice Number from SAP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upload to Blockchain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7030166" y="4148333"/>
                <a:ext cx="1707737" cy="3021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7</a:t>
                </a:r>
                <a:r>
                  <a:rPr lang="en-US" sz="100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Post Request </a:t>
                </a:r>
                <a:r>
                  <a:rPr lang="en-US" sz="100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to </a:t>
                </a:r>
                <a:r>
                  <a:rPr lang="en-US" sz="100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132968" y="4401688"/>
                <a:ext cx="255543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8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Download SAP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Number doc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SAP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upload to Blockchain</a:t>
                </a:r>
              </a:p>
            </p:txBody>
          </p:sp>
        </p:grpSp>
        <p:sp>
          <p:nvSpPr>
            <p:cNvPr id="26" name="Rounded Rectangle 25"/>
            <p:cNvSpPr/>
            <p:nvPr/>
          </p:nvSpPr>
          <p:spPr>
            <a:xfrm>
              <a:off x="1683773" y="3005800"/>
              <a:ext cx="1966451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R Tax </a:t>
              </a:r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prover</a:t>
              </a:r>
              <a:endPara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12" name="Elbow Connector 11"/>
            <p:cNvCxnSpPr/>
            <p:nvPr/>
          </p:nvCxnSpPr>
          <p:spPr>
            <a:xfrm rot="5400000">
              <a:off x="5564265" y="-711817"/>
              <a:ext cx="675556" cy="67596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endCxn id="9" idx="0"/>
            </p:cNvCxnSpPr>
            <p:nvPr/>
          </p:nvCxnSpPr>
          <p:spPr>
            <a:xfrm>
              <a:off x="3650224" y="3603148"/>
              <a:ext cx="2586910" cy="563042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/>
            <p:cNvSpPr txBox="1"/>
            <p:nvPr/>
          </p:nvSpPr>
          <p:spPr>
            <a:xfrm>
              <a:off x="3762179" y="3543322"/>
              <a:ext cx="2754255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3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pproved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by Tax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pprover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1864620" y="3978702"/>
            <a:ext cx="6397208" cy="21641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d Drive / File System</a:t>
            </a:r>
            <a:endParaRPr lang="en-US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5" name="Picture 44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94" y="4645105"/>
            <a:ext cx="630715" cy="630715"/>
          </a:xfrm>
          <a:prstGeom prst="rect">
            <a:avLst/>
          </a:prstGeom>
        </p:spPr>
      </p:pic>
      <p:sp>
        <p:nvSpPr>
          <p:cNvPr id="77" name="Up-Down Arrow 76"/>
          <p:cNvSpPr/>
          <p:nvPr/>
        </p:nvSpPr>
        <p:spPr>
          <a:xfrm>
            <a:off x="4901181" y="4186667"/>
            <a:ext cx="135912" cy="441347"/>
          </a:xfrm>
          <a:prstGeom prst="upDown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Left-Up Arrow 78"/>
          <p:cNvSpPr/>
          <p:nvPr/>
        </p:nvSpPr>
        <p:spPr>
          <a:xfrm>
            <a:off x="2953965" y="5339452"/>
            <a:ext cx="1947216" cy="390751"/>
          </a:xfrm>
          <a:prstGeom prst="leftUpArrow">
            <a:avLst>
              <a:gd name="adj1" fmla="val 14398"/>
              <a:gd name="adj2" fmla="val 22349"/>
              <a:gd name="adj3" fmla="val 2500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Left-Up Arrow 79"/>
          <p:cNvSpPr/>
          <p:nvPr/>
        </p:nvSpPr>
        <p:spPr>
          <a:xfrm rot="10800000" flipV="1">
            <a:off x="5102552" y="5339451"/>
            <a:ext cx="1849668" cy="390751"/>
          </a:xfrm>
          <a:prstGeom prst="leftUpArrow">
            <a:avLst>
              <a:gd name="adj1" fmla="val 14398"/>
              <a:gd name="adj2" fmla="val 22349"/>
              <a:gd name="adj3" fmla="val 34679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lowchart: Predefined Process 81"/>
          <p:cNvSpPr/>
          <p:nvPr/>
        </p:nvSpPr>
        <p:spPr>
          <a:xfrm>
            <a:off x="7916882" y="2029441"/>
            <a:ext cx="1419142" cy="571365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smtClean="0"/>
              <a:t>County specific Exception / Query Handling</a:t>
            </a:r>
            <a:endParaRPr lang="en-US" sz="1000"/>
          </a:p>
        </p:txBody>
      </p:sp>
      <p:cxnSp>
        <p:nvCxnSpPr>
          <p:cNvPr id="87" name="Elbow Connector 86"/>
          <p:cNvCxnSpPr>
            <a:stCxn id="9" idx="3"/>
            <a:endCxn id="82" idx="2"/>
          </p:cNvCxnSpPr>
          <p:nvPr/>
        </p:nvCxnSpPr>
        <p:spPr>
          <a:xfrm flipV="1">
            <a:off x="8310433" y="2600806"/>
            <a:ext cx="316020" cy="450200"/>
          </a:xfrm>
          <a:prstGeom prst="bentConnector2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8" idx="2"/>
            <a:endCxn id="82" idx="0"/>
          </p:cNvCxnSpPr>
          <p:nvPr/>
        </p:nvCxnSpPr>
        <p:spPr>
          <a:xfrm rot="16200000" flipH="1">
            <a:off x="7907961" y="1310949"/>
            <a:ext cx="582906" cy="854077"/>
          </a:xfrm>
          <a:prstGeom prst="bentConnector3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26" idx="3"/>
            <a:endCxn id="82" idx="1"/>
          </p:cNvCxnSpPr>
          <p:nvPr/>
        </p:nvCxnSpPr>
        <p:spPr>
          <a:xfrm>
            <a:off x="2953965" y="2285574"/>
            <a:ext cx="4962917" cy="2955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6" idx="1"/>
            <a:endCxn id="41" idx="1"/>
          </p:cNvCxnSpPr>
          <p:nvPr/>
        </p:nvCxnSpPr>
        <p:spPr>
          <a:xfrm rot="10800000" flipH="1" flipV="1">
            <a:off x="1313656" y="1158062"/>
            <a:ext cx="550964" cy="2928847"/>
          </a:xfrm>
          <a:prstGeom prst="bentConnector3">
            <a:avLst>
              <a:gd name="adj1" fmla="val -41491"/>
            </a:avLst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228601" y="2760920"/>
            <a:ext cx="1741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ull Master Data (frequency based integration)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820656" y="4279392"/>
            <a:ext cx="224028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200" dirty="0" smtClean="0"/>
              <a:t>Created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Tax Approval In-Process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AR Posting On-Hold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AR Posting In-Process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AP </a:t>
            </a:r>
            <a:r>
              <a:rPr lang="en-US" sz="1200" dirty="0"/>
              <a:t>Posting On-Hold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AP </a:t>
            </a:r>
            <a:r>
              <a:rPr lang="en-US" sz="1200" dirty="0"/>
              <a:t>Posting </a:t>
            </a:r>
            <a:r>
              <a:rPr lang="en-US" sz="1200" dirty="0" smtClean="0"/>
              <a:t>In-Process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Rejected</a:t>
            </a:r>
          </a:p>
          <a:p>
            <a:pPr marL="342900" indent="-342900">
              <a:buAutoNum type="arabicPeriod"/>
            </a:pPr>
            <a:r>
              <a:rPr lang="en-US" sz="1200" dirty="0" smtClean="0"/>
              <a:t>Closed</a:t>
            </a:r>
            <a:endParaRPr lang="en-US" sz="1200" dirty="0"/>
          </a:p>
          <a:p>
            <a:pPr marL="342900" indent="-342900">
              <a:buAutoNum type="arabicPeriod"/>
            </a:pPr>
            <a:endParaRPr lang="en-US" sz="1200" dirty="0" smtClean="0"/>
          </a:p>
          <a:p>
            <a:pPr marL="342900" indent="-342900">
              <a:buAutoNum type="arabicPeriod"/>
            </a:pPr>
            <a:endParaRPr lang="en-US" sz="1200" dirty="0" smtClean="0"/>
          </a:p>
          <a:p>
            <a:pPr marL="342900" indent="-3429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270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72356"/>
            <a:ext cx="10515600" cy="369282"/>
          </a:xfrm>
        </p:spPr>
        <p:txBody>
          <a:bodyPr>
            <a:normAutofit fontScale="90000"/>
          </a:bodyPr>
          <a:lstStyle/>
          <a:p>
            <a:r>
              <a:rPr lang="en-US" sz="2400" b="1" smtClean="0"/>
              <a:t>Sundry Manual Approval Functional Flow Diagram </a:t>
            </a:r>
            <a:endParaRPr lang="en-US" sz="2400" b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736822" y="728844"/>
            <a:ext cx="8890037" cy="5146558"/>
            <a:chOff x="992247" y="1494503"/>
            <a:chExt cx="10657639" cy="6314930"/>
          </a:xfrm>
        </p:grpSpPr>
        <p:sp>
          <p:nvSpPr>
            <p:cNvPr id="4" name="TextBox 3"/>
            <p:cNvSpPr txBox="1"/>
            <p:nvPr/>
          </p:nvSpPr>
          <p:spPr>
            <a:xfrm>
              <a:off x="2323006" y="3602722"/>
              <a:ext cx="9326880" cy="2077492"/>
            </a:xfrm>
            <a:prstGeom prst="rect">
              <a:avLst/>
            </a:prstGeom>
            <a:noFill/>
          </p:spPr>
          <p:txBody>
            <a:bodyPr wrap="square" tIns="91440" rIns="91440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683773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R Country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8443451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 Country</a:t>
              </a:r>
            </a:p>
          </p:txBody>
        </p:sp>
        <p:cxnSp>
          <p:nvCxnSpPr>
            <p:cNvPr id="13" name="Straight Arrow Connector 12"/>
            <p:cNvCxnSpPr>
              <a:stCxn id="6" idx="3"/>
              <a:endCxn id="2" idx="1"/>
            </p:cNvCxnSpPr>
            <p:nvPr/>
          </p:nvCxnSpPr>
          <p:spPr>
            <a:xfrm>
              <a:off x="3650225" y="1976284"/>
              <a:ext cx="181896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/>
            <p:cNvSpPr/>
            <p:nvPr/>
          </p:nvSpPr>
          <p:spPr>
            <a:xfrm>
              <a:off x="5469193" y="1494503"/>
              <a:ext cx="1042220" cy="96356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utomation through Smart Contracts</a:t>
              </a:r>
            </a:p>
          </p:txBody>
        </p:sp>
        <p:cxnSp>
          <p:nvCxnSpPr>
            <p:cNvPr id="10" name="Straight Arrow Connector 9"/>
            <p:cNvCxnSpPr>
              <a:stCxn id="2" idx="3"/>
              <a:endCxn id="8" idx="1"/>
            </p:cNvCxnSpPr>
            <p:nvPr/>
          </p:nvCxnSpPr>
          <p:spPr>
            <a:xfrm flipV="1">
              <a:off x="6511413" y="1976284"/>
              <a:ext cx="193203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3719053" y="1710814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1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Initiated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526161" y="1710812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2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reated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131454" y="2940393"/>
              <a:ext cx="2738499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2.1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pproved by AP Country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09596" y="4876202"/>
              <a:ext cx="1837562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2.2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Post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to SAP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992247" y="3956032"/>
              <a:ext cx="10348513" cy="3853401"/>
              <a:chOff x="892901" y="3526355"/>
              <a:chExt cx="10348513" cy="3853401"/>
            </a:xfrm>
          </p:grpSpPr>
          <p:sp>
            <p:nvSpPr>
              <p:cNvPr id="9" name="Rounded Rectangle 8"/>
              <p:cNvSpPr/>
              <p:nvPr/>
            </p:nvSpPr>
            <p:spPr>
              <a:xfrm>
                <a:off x="892901" y="3526355"/>
                <a:ext cx="2212587" cy="65009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 smtClean="0">
                    <a:solidFill>
                      <a:schemeClr val="tx2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G Admin</a:t>
                </a:r>
                <a:endPara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53" name="Group 52"/>
              <p:cNvGrpSpPr/>
              <p:nvPr/>
            </p:nvGrpSpPr>
            <p:grpSpPr>
              <a:xfrm>
                <a:off x="1584427" y="4024257"/>
                <a:ext cx="3778572" cy="3354255"/>
                <a:chOff x="1225121" y="4048143"/>
                <a:chExt cx="3778572" cy="3354255"/>
              </a:xfrm>
            </p:grpSpPr>
            <p:sp>
              <p:nvSpPr>
                <p:cNvPr id="14" name="Rounded Rectangle 13"/>
                <p:cNvSpPr/>
                <p:nvPr/>
              </p:nvSpPr>
              <p:spPr>
                <a:xfrm>
                  <a:off x="1225121" y="6694475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R Country)</a:t>
                  </a:r>
                </a:p>
              </p:txBody>
            </p:sp>
            <p:cxnSp>
              <p:nvCxnSpPr>
                <p:cNvPr id="34" name="Straight Arrow Connector 33"/>
                <p:cNvCxnSpPr/>
                <p:nvPr/>
              </p:nvCxnSpPr>
              <p:spPr>
                <a:xfrm flipH="1">
                  <a:off x="3433738" y="4048143"/>
                  <a:ext cx="10740" cy="1107376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Arrow Connector 35"/>
                <p:cNvCxnSpPr/>
                <p:nvPr/>
              </p:nvCxnSpPr>
              <p:spPr>
                <a:xfrm flipV="1">
                  <a:off x="5003693" y="4069826"/>
                  <a:ext cx="0" cy="1032367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/>
              <p:cNvGrpSpPr/>
              <p:nvPr/>
            </p:nvGrpSpPr>
            <p:grpSpPr>
              <a:xfrm>
                <a:off x="7896704" y="3999219"/>
                <a:ext cx="2413854" cy="3380537"/>
                <a:chOff x="5928285" y="4018619"/>
                <a:chExt cx="2413854" cy="3380537"/>
              </a:xfrm>
            </p:grpSpPr>
            <p:sp>
              <p:nvSpPr>
                <p:cNvPr id="21" name="Rounded Rectangle 20"/>
                <p:cNvSpPr/>
                <p:nvPr/>
              </p:nvSpPr>
              <p:spPr>
                <a:xfrm>
                  <a:off x="6375687" y="6691233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P Country)</a:t>
                  </a:r>
                </a:p>
              </p:txBody>
            </p:sp>
            <p:cxnSp>
              <p:nvCxnSpPr>
                <p:cNvPr id="37" name="Straight Arrow Connector 36"/>
                <p:cNvCxnSpPr/>
                <p:nvPr/>
              </p:nvCxnSpPr>
              <p:spPr>
                <a:xfrm>
                  <a:off x="5928285" y="4067126"/>
                  <a:ext cx="3714" cy="1032755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Arrow Connector 37"/>
                <p:cNvCxnSpPr/>
                <p:nvPr/>
              </p:nvCxnSpPr>
              <p:spPr>
                <a:xfrm flipH="1" flipV="1">
                  <a:off x="7654235" y="4018619"/>
                  <a:ext cx="1500" cy="1092194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" name="TextBox 51"/>
              <p:cNvSpPr txBox="1"/>
              <p:nvPr/>
            </p:nvSpPr>
            <p:spPr>
              <a:xfrm>
                <a:off x="4627509" y="4333438"/>
                <a:ext cx="267690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3- Get Invoice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Number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Invoice Document and Update Blockchain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6981764" y="4413088"/>
                <a:ext cx="1707738" cy="3021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4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Post Request to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685977" y="4285825"/>
                <a:ext cx="255543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5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Get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 Doc Number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 Document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Update Blockchain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  <p:cxnSp>
          <p:nvCxnSpPr>
            <p:cNvPr id="12" name="Elbow Connector 11"/>
            <p:cNvCxnSpPr/>
            <p:nvPr/>
          </p:nvCxnSpPr>
          <p:spPr>
            <a:xfrm rot="5400000">
              <a:off x="7346303" y="2478584"/>
              <a:ext cx="1704451" cy="140777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ounded Rectangle 40"/>
          <p:cNvSpPr/>
          <p:nvPr/>
        </p:nvSpPr>
        <p:spPr>
          <a:xfrm>
            <a:off x="1903947" y="4014827"/>
            <a:ext cx="6397208" cy="21641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d Drive /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 Point</a:t>
            </a:r>
            <a:endParaRPr lang="en-US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5" name="Picture 44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94" y="4645105"/>
            <a:ext cx="630715" cy="630715"/>
          </a:xfrm>
          <a:prstGeom prst="rect">
            <a:avLst/>
          </a:prstGeom>
        </p:spPr>
      </p:pic>
      <p:sp>
        <p:nvSpPr>
          <p:cNvPr id="77" name="Up-Down Arrow 76"/>
          <p:cNvSpPr/>
          <p:nvPr/>
        </p:nvSpPr>
        <p:spPr>
          <a:xfrm>
            <a:off x="4901181" y="4186667"/>
            <a:ext cx="135912" cy="441347"/>
          </a:xfrm>
          <a:prstGeom prst="upDown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Left-Up Arrow 78"/>
          <p:cNvSpPr/>
          <p:nvPr/>
        </p:nvSpPr>
        <p:spPr>
          <a:xfrm>
            <a:off x="2953965" y="5339452"/>
            <a:ext cx="1947216" cy="390751"/>
          </a:xfrm>
          <a:prstGeom prst="leftUpArrow">
            <a:avLst>
              <a:gd name="adj1" fmla="val 14398"/>
              <a:gd name="adj2" fmla="val 22349"/>
              <a:gd name="adj3" fmla="val 2500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Left-Up Arrow 79"/>
          <p:cNvSpPr/>
          <p:nvPr/>
        </p:nvSpPr>
        <p:spPr>
          <a:xfrm rot="10800000" flipV="1">
            <a:off x="5102552" y="5339451"/>
            <a:ext cx="1849668" cy="390751"/>
          </a:xfrm>
          <a:prstGeom prst="leftUpArrow">
            <a:avLst>
              <a:gd name="adj1" fmla="val 14398"/>
              <a:gd name="adj2" fmla="val 22349"/>
              <a:gd name="adj3" fmla="val 34679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lowchart: Predefined Process 81"/>
          <p:cNvSpPr/>
          <p:nvPr/>
        </p:nvSpPr>
        <p:spPr>
          <a:xfrm>
            <a:off x="8900773" y="1804927"/>
            <a:ext cx="1419142" cy="571365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unty specific Exception / Query Handling</a:t>
            </a:r>
            <a:endParaRPr lang="en-US" sz="1000" dirty="0"/>
          </a:p>
        </p:txBody>
      </p:sp>
      <p:cxnSp>
        <p:nvCxnSpPr>
          <p:cNvPr id="90" name="Elbow Connector 89"/>
          <p:cNvCxnSpPr>
            <a:stCxn id="8" idx="2"/>
            <a:endCxn id="82" idx="0"/>
          </p:cNvCxnSpPr>
          <p:nvPr/>
        </p:nvCxnSpPr>
        <p:spPr>
          <a:xfrm rot="16200000" flipH="1">
            <a:off x="8493876" y="688459"/>
            <a:ext cx="394968" cy="1837968"/>
          </a:xfrm>
          <a:prstGeom prst="bentConnector3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6" idx="1"/>
            <a:endCxn id="41" idx="1"/>
          </p:cNvCxnSpPr>
          <p:nvPr/>
        </p:nvCxnSpPr>
        <p:spPr>
          <a:xfrm rot="10800000" flipH="1" flipV="1">
            <a:off x="1313655" y="1121487"/>
            <a:ext cx="590291" cy="3001548"/>
          </a:xfrm>
          <a:prstGeom prst="bentConnector3">
            <a:avLst>
              <a:gd name="adj1" fmla="val -144064"/>
            </a:avLst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-35706" y="2200410"/>
            <a:ext cx="18884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ull Master Data (frequency based integration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28716" y="4443227"/>
            <a:ext cx="272491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tatus:-</a:t>
            </a:r>
          </a:p>
          <a:p>
            <a:r>
              <a:rPr lang="en-US" sz="1000" dirty="0" smtClean="0"/>
              <a:t>1.       Created</a:t>
            </a:r>
          </a:p>
          <a:p>
            <a:r>
              <a:rPr lang="en-US" sz="1000" dirty="0" smtClean="0"/>
              <a:t>2.       AR Posting Completed</a:t>
            </a:r>
          </a:p>
          <a:p>
            <a:r>
              <a:rPr lang="en-US" sz="1000" dirty="0" smtClean="0"/>
              <a:t>3.       AR Pulling Completed</a:t>
            </a:r>
          </a:p>
          <a:p>
            <a:r>
              <a:rPr lang="en-US" sz="1000" dirty="0" smtClean="0"/>
              <a:t>4.       AP </a:t>
            </a:r>
            <a:r>
              <a:rPr lang="en-US" sz="1000" dirty="0"/>
              <a:t>Posting </a:t>
            </a:r>
            <a:r>
              <a:rPr lang="en-US" sz="1000" dirty="0" smtClean="0"/>
              <a:t>Completed</a:t>
            </a:r>
            <a:endParaRPr lang="en-US" sz="1000" dirty="0"/>
          </a:p>
          <a:p>
            <a:r>
              <a:rPr lang="en-US" sz="1000" dirty="0" smtClean="0"/>
              <a:t>5.       AP Pulling Completed</a:t>
            </a:r>
          </a:p>
          <a:p>
            <a:r>
              <a:rPr lang="en-US" sz="1000" dirty="0" smtClean="0"/>
              <a:t>6.       AP Posting – Error Occurred </a:t>
            </a:r>
          </a:p>
          <a:p>
            <a:r>
              <a:rPr lang="en-US" sz="1000" dirty="0" smtClean="0"/>
              <a:t>7.       Rejected</a:t>
            </a:r>
          </a:p>
          <a:p>
            <a:r>
              <a:rPr lang="en-US" sz="1000" dirty="0" smtClean="0"/>
              <a:t>8.       Closed</a:t>
            </a:r>
          </a:p>
          <a:p>
            <a:pPr marL="228600" indent="-228600">
              <a:buAutoNum type="arabicPeriod" startAt="9"/>
            </a:pPr>
            <a:endParaRPr lang="en-US" sz="1000" dirty="0"/>
          </a:p>
          <a:p>
            <a:r>
              <a:rPr lang="en-US" sz="1000" b="1" dirty="0" smtClean="0"/>
              <a:t>Exception Status:-</a:t>
            </a:r>
          </a:p>
          <a:p>
            <a:r>
              <a:rPr lang="en-US" sz="1000" dirty="0"/>
              <a:t>9</a:t>
            </a:r>
            <a:r>
              <a:rPr lang="en-US" sz="1000" dirty="0" smtClean="0"/>
              <a:t>.     AR Tax </a:t>
            </a:r>
            <a:r>
              <a:rPr lang="en-US" sz="1000" dirty="0"/>
              <a:t>Approval </a:t>
            </a:r>
            <a:r>
              <a:rPr lang="en-US" sz="1000" dirty="0" smtClean="0"/>
              <a:t>In-Process</a:t>
            </a:r>
          </a:p>
          <a:p>
            <a:r>
              <a:rPr lang="en-US" sz="1000" dirty="0" smtClean="0"/>
              <a:t>10.     AP </a:t>
            </a:r>
            <a:r>
              <a:rPr lang="en-US" sz="1000" dirty="0"/>
              <a:t>Tax Approval In-Process</a:t>
            </a:r>
          </a:p>
          <a:p>
            <a:pPr marL="228600" indent="-228600">
              <a:buAutoNum type="arabicPeriod" startAt="10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/>
          </a:p>
          <a:p>
            <a:pPr marL="342900" indent="-342900">
              <a:buAutoNum type="arabicPeriod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2057975" y="3235456"/>
            <a:ext cx="678" cy="774986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1484533" y="3631251"/>
            <a:ext cx="1222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6 – Errors/Queries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413338" y="1736713"/>
            <a:ext cx="17882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7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– Assign request back to AR Requestor for editing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2" name="Flowchart: Predefined Process 61"/>
          <p:cNvSpPr/>
          <p:nvPr/>
        </p:nvSpPr>
        <p:spPr>
          <a:xfrm>
            <a:off x="2864242" y="2798448"/>
            <a:ext cx="5436913" cy="346657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Share Point Integration</a:t>
            </a:r>
            <a:endParaRPr lang="en-US" sz="1000" dirty="0"/>
          </a:p>
        </p:txBody>
      </p:sp>
      <p:cxnSp>
        <p:nvCxnSpPr>
          <p:cNvPr id="143" name="Elbow Connector 142"/>
          <p:cNvCxnSpPr>
            <a:stCxn id="62" idx="3"/>
            <a:endCxn id="82" idx="2"/>
          </p:cNvCxnSpPr>
          <p:nvPr/>
        </p:nvCxnSpPr>
        <p:spPr>
          <a:xfrm flipV="1">
            <a:off x="8301155" y="2376292"/>
            <a:ext cx="1309189" cy="595485"/>
          </a:xfrm>
          <a:prstGeom prst="bentConnector2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 flipV="1">
            <a:off x="1822235" y="1396754"/>
            <a:ext cx="0" cy="1328914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097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72356"/>
            <a:ext cx="10515600" cy="369282"/>
          </a:xfrm>
        </p:spPr>
        <p:txBody>
          <a:bodyPr>
            <a:normAutofit fontScale="90000"/>
          </a:bodyPr>
          <a:lstStyle/>
          <a:p>
            <a:r>
              <a:rPr lang="en-US" sz="2400" b="1" smtClean="0"/>
              <a:t>Sundry Manual Approval Functional Flow Diagram </a:t>
            </a:r>
            <a:endParaRPr lang="en-US" sz="2400" b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736822" y="728844"/>
            <a:ext cx="8890037" cy="5146558"/>
            <a:chOff x="992247" y="1494503"/>
            <a:chExt cx="10657639" cy="6314930"/>
          </a:xfrm>
        </p:grpSpPr>
        <p:sp>
          <p:nvSpPr>
            <p:cNvPr id="4" name="TextBox 3"/>
            <p:cNvSpPr txBox="1"/>
            <p:nvPr/>
          </p:nvSpPr>
          <p:spPr>
            <a:xfrm>
              <a:off x="2323006" y="3602722"/>
              <a:ext cx="9326880" cy="2077492"/>
            </a:xfrm>
            <a:prstGeom prst="rect">
              <a:avLst/>
            </a:prstGeom>
            <a:noFill/>
          </p:spPr>
          <p:txBody>
            <a:bodyPr wrap="square" tIns="91440" rIns="91440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683773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R Country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8443451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 Country</a:t>
              </a:r>
            </a:p>
          </p:txBody>
        </p:sp>
        <p:cxnSp>
          <p:nvCxnSpPr>
            <p:cNvPr id="13" name="Straight Arrow Connector 12"/>
            <p:cNvCxnSpPr>
              <a:stCxn id="6" idx="3"/>
              <a:endCxn id="2" idx="1"/>
            </p:cNvCxnSpPr>
            <p:nvPr/>
          </p:nvCxnSpPr>
          <p:spPr>
            <a:xfrm>
              <a:off x="3650225" y="1976284"/>
              <a:ext cx="181896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/>
            <p:cNvSpPr/>
            <p:nvPr/>
          </p:nvSpPr>
          <p:spPr>
            <a:xfrm>
              <a:off x="5469193" y="1494503"/>
              <a:ext cx="1042220" cy="96356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utomation through Smart Contracts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719053" y="1710814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1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Initiated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926555" y="2968149"/>
              <a:ext cx="1750141" cy="3124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2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reated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09596" y="4876202"/>
              <a:ext cx="1837562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.3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Post Request </a:t>
              </a:r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to SAP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992247" y="3956032"/>
              <a:ext cx="10348513" cy="3853401"/>
              <a:chOff x="892901" y="3526355"/>
              <a:chExt cx="10348513" cy="3853401"/>
            </a:xfrm>
          </p:grpSpPr>
          <p:sp>
            <p:nvSpPr>
              <p:cNvPr id="9" name="Rounded Rectangle 8"/>
              <p:cNvSpPr/>
              <p:nvPr/>
            </p:nvSpPr>
            <p:spPr>
              <a:xfrm>
                <a:off x="892901" y="3526355"/>
                <a:ext cx="2212587" cy="65009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 smtClean="0">
                    <a:solidFill>
                      <a:schemeClr val="tx2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G Admin</a:t>
                </a:r>
                <a:endPara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53" name="Group 52"/>
              <p:cNvGrpSpPr/>
              <p:nvPr/>
            </p:nvGrpSpPr>
            <p:grpSpPr>
              <a:xfrm>
                <a:off x="1584427" y="4024257"/>
                <a:ext cx="3778572" cy="3354255"/>
                <a:chOff x="1225121" y="4048143"/>
                <a:chExt cx="3778572" cy="3354255"/>
              </a:xfrm>
            </p:grpSpPr>
            <p:sp>
              <p:nvSpPr>
                <p:cNvPr id="14" name="Rounded Rectangle 13"/>
                <p:cNvSpPr/>
                <p:nvPr/>
              </p:nvSpPr>
              <p:spPr>
                <a:xfrm>
                  <a:off x="1225121" y="6694475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R Country)</a:t>
                  </a:r>
                </a:p>
              </p:txBody>
            </p:sp>
            <p:cxnSp>
              <p:nvCxnSpPr>
                <p:cNvPr id="34" name="Straight Arrow Connector 33"/>
                <p:cNvCxnSpPr/>
                <p:nvPr/>
              </p:nvCxnSpPr>
              <p:spPr>
                <a:xfrm flipH="1">
                  <a:off x="3433738" y="4048143"/>
                  <a:ext cx="10740" cy="1107376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Arrow Connector 35"/>
                <p:cNvCxnSpPr/>
                <p:nvPr/>
              </p:nvCxnSpPr>
              <p:spPr>
                <a:xfrm flipV="1">
                  <a:off x="5003693" y="4069826"/>
                  <a:ext cx="0" cy="1032367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/>
              <p:cNvGrpSpPr/>
              <p:nvPr/>
            </p:nvGrpSpPr>
            <p:grpSpPr>
              <a:xfrm>
                <a:off x="7896704" y="3999219"/>
                <a:ext cx="2413854" cy="3380537"/>
                <a:chOff x="5928285" y="4018619"/>
                <a:chExt cx="2413854" cy="3380537"/>
              </a:xfrm>
            </p:grpSpPr>
            <p:sp>
              <p:nvSpPr>
                <p:cNvPr id="21" name="Rounded Rectangle 20"/>
                <p:cNvSpPr/>
                <p:nvPr/>
              </p:nvSpPr>
              <p:spPr>
                <a:xfrm>
                  <a:off x="6375687" y="6691233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P Country)</a:t>
                  </a:r>
                </a:p>
              </p:txBody>
            </p:sp>
            <p:cxnSp>
              <p:nvCxnSpPr>
                <p:cNvPr id="37" name="Straight Arrow Connector 36"/>
                <p:cNvCxnSpPr/>
                <p:nvPr/>
              </p:nvCxnSpPr>
              <p:spPr>
                <a:xfrm>
                  <a:off x="5928285" y="4067126"/>
                  <a:ext cx="3714" cy="1032755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Arrow Connector 37"/>
                <p:cNvCxnSpPr/>
                <p:nvPr/>
              </p:nvCxnSpPr>
              <p:spPr>
                <a:xfrm flipH="1" flipV="1">
                  <a:off x="7654235" y="4018619"/>
                  <a:ext cx="1500" cy="1092194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" name="TextBox 51"/>
              <p:cNvSpPr txBox="1"/>
              <p:nvPr/>
            </p:nvSpPr>
            <p:spPr>
              <a:xfrm>
                <a:off x="4627509" y="4333438"/>
                <a:ext cx="267690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2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Get Invoice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Number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Invoice Document and Update Blockchain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6981764" y="4413088"/>
                <a:ext cx="1707738" cy="3021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3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Post Request to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685977" y="4285825"/>
                <a:ext cx="255543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4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Get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 Doc Number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 Document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Update Blockchain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  <p:cxnSp>
          <p:nvCxnSpPr>
            <p:cNvPr id="12" name="Elbow Connector 11"/>
            <p:cNvCxnSpPr>
              <a:stCxn id="2" idx="2"/>
            </p:cNvCxnSpPr>
            <p:nvPr/>
          </p:nvCxnSpPr>
          <p:spPr>
            <a:xfrm rot="16200000" flipH="1">
              <a:off x="5954156" y="2494212"/>
              <a:ext cx="1576634" cy="15043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ounded Rectangle 40"/>
          <p:cNvSpPr/>
          <p:nvPr/>
        </p:nvSpPr>
        <p:spPr>
          <a:xfrm>
            <a:off x="1903947" y="4014827"/>
            <a:ext cx="6397208" cy="21641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d Drive /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 Point</a:t>
            </a:r>
            <a:endParaRPr lang="en-US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5" name="Picture 44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94" y="4645105"/>
            <a:ext cx="630715" cy="630715"/>
          </a:xfrm>
          <a:prstGeom prst="rect">
            <a:avLst/>
          </a:prstGeom>
        </p:spPr>
      </p:pic>
      <p:sp>
        <p:nvSpPr>
          <p:cNvPr id="77" name="Up-Down Arrow 76"/>
          <p:cNvSpPr/>
          <p:nvPr/>
        </p:nvSpPr>
        <p:spPr>
          <a:xfrm>
            <a:off x="4901181" y="4186667"/>
            <a:ext cx="135912" cy="441347"/>
          </a:xfrm>
          <a:prstGeom prst="upDown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Left-Up Arrow 78"/>
          <p:cNvSpPr/>
          <p:nvPr/>
        </p:nvSpPr>
        <p:spPr>
          <a:xfrm>
            <a:off x="2953965" y="5339452"/>
            <a:ext cx="1947216" cy="390751"/>
          </a:xfrm>
          <a:prstGeom prst="leftUpArrow">
            <a:avLst>
              <a:gd name="adj1" fmla="val 14398"/>
              <a:gd name="adj2" fmla="val 22349"/>
              <a:gd name="adj3" fmla="val 2500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Left-Up Arrow 79"/>
          <p:cNvSpPr/>
          <p:nvPr/>
        </p:nvSpPr>
        <p:spPr>
          <a:xfrm rot="10800000" flipV="1">
            <a:off x="5102552" y="5339451"/>
            <a:ext cx="1849668" cy="390751"/>
          </a:xfrm>
          <a:prstGeom prst="leftUpArrow">
            <a:avLst>
              <a:gd name="adj1" fmla="val 14398"/>
              <a:gd name="adj2" fmla="val 22349"/>
              <a:gd name="adj3" fmla="val 34679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lowchart: Predefined Process 81"/>
          <p:cNvSpPr/>
          <p:nvPr/>
        </p:nvSpPr>
        <p:spPr>
          <a:xfrm>
            <a:off x="8900773" y="1804927"/>
            <a:ext cx="1419142" cy="571365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unty specific Exception / Query Handling</a:t>
            </a:r>
            <a:endParaRPr lang="en-US" sz="1000" dirty="0"/>
          </a:p>
        </p:txBody>
      </p:sp>
      <p:cxnSp>
        <p:nvCxnSpPr>
          <p:cNvPr id="90" name="Elbow Connector 89"/>
          <p:cNvCxnSpPr>
            <a:stCxn id="8" idx="2"/>
            <a:endCxn id="82" idx="0"/>
          </p:cNvCxnSpPr>
          <p:nvPr/>
        </p:nvCxnSpPr>
        <p:spPr>
          <a:xfrm rot="16200000" flipH="1">
            <a:off x="8493876" y="688459"/>
            <a:ext cx="394968" cy="1837968"/>
          </a:xfrm>
          <a:prstGeom prst="bentConnector3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6" idx="1"/>
            <a:endCxn id="41" idx="1"/>
          </p:cNvCxnSpPr>
          <p:nvPr/>
        </p:nvCxnSpPr>
        <p:spPr>
          <a:xfrm rot="10800000" flipH="1" flipV="1">
            <a:off x="1313655" y="1121487"/>
            <a:ext cx="590291" cy="3001548"/>
          </a:xfrm>
          <a:prstGeom prst="bentConnector3">
            <a:avLst>
              <a:gd name="adj1" fmla="val -144064"/>
            </a:avLst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-35706" y="2200410"/>
            <a:ext cx="18884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ull Master Data (frequency based integration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28716" y="4443227"/>
            <a:ext cx="2724912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tatus:-</a:t>
            </a:r>
          </a:p>
          <a:p>
            <a:r>
              <a:rPr lang="en-US" sz="1000" dirty="0" smtClean="0"/>
              <a:t>1.       AR Posting Completed</a:t>
            </a:r>
          </a:p>
          <a:p>
            <a:r>
              <a:rPr lang="en-US" sz="1000" dirty="0" smtClean="0"/>
              <a:t>2.       AR Pulling Completed</a:t>
            </a:r>
          </a:p>
          <a:p>
            <a:r>
              <a:rPr lang="en-US" sz="1000" dirty="0" smtClean="0"/>
              <a:t>3.       AP </a:t>
            </a:r>
            <a:r>
              <a:rPr lang="en-US" sz="1000" dirty="0"/>
              <a:t>Posting </a:t>
            </a:r>
            <a:r>
              <a:rPr lang="en-US" sz="1000" dirty="0" smtClean="0"/>
              <a:t>Completed</a:t>
            </a:r>
            <a:endParaRPr lang="en-US" sz="1000" dirty="0"/>
          </a:p>
          <a:p>
            <a:r>
              <a:rPr lang="en-US" sz="1000" dirty="0"/>
              <a:t>4</a:t>
            </a:r>
            <a:r>
              <a:rPr lang="en-US" sz="1000" dirty="0" smtClean="0"/>
              <a:t>.       AP Pulling Completed</a:t>
            </a:r>
          </a:p>
          <a:p>
            <a:r>
              <a:rPr lang="en-US" sz="1000" dirty="0"/>
              <a:t>5</a:t>
            </a:r>
            <a:r>
              <a:rPr lang="en-US" sz="1000" dirty="0" smtClean="0"/>
              <a:t>.       AP Posting – Error Occurred </a:t>
            </a:r>
          </a:p>
          <a:p>
            <a:r>
              <a:rPr lang="en-US" sz="1000" dirty="0"/>
              <a:t>6</a:t>
            </a:r>
            <a:r>
              <a:rPr lang="en-US" sz="1000" dirty="0" smtClean="0"/>
              <a:t>.       Rejected</a:t>
            </a:r>
          </a:p>
          <a:p>
            <a:r>
              <a:rPr lang="en-US" sz="1000" dirty="0"/>
              <a:t>7</a:t>
            </a:r>
            <a:r>
              <a:rPr lang="en-US" sz="1000" smtClean="0"/>
              <a:t>.       </a:t>
            </a:r>
            <a:r>
              <a:rPr lang="en-US" sz="1000" dirty="0" smtClean="0"/>
              <a:t>Closed</a:t>
            </a:r>
          </a:p>
          <a:p>
            <a:pPr marL="228600" indent="-228600">
              <a:buAutoNum type="arabicPeriod" startAt="9"/>
            </a:pPr>
            <a:endParaRPr lang="en-US" sz="1000" dirty="0"/>
          </a:p>
          <a:p>
            <a:r>
              <a:rPr lang="en-US" sz="1000" b="1" dirty="0" smtClean="0"/>
              <a:t>Exception Status:-</a:t>
            </a:r>
          </a:p>
          <a:p>
            <a:r>
              <a:rPr lang="en-US" sz="1000" dirty="0"/>
              <a:t>9</a:t>
            </a:r>
            <a:r>
              <a:rPr lang="en-US" sz="1000" dirty="0" smtClean="0"/>
              <a:t>.     AR Tax </a:t>
            </a:r>
            <a:r>
              <a:rPr lang="en-US" sz="1000" dirty="0"/>
              <a:t>Approval </a:t>
            </a:r>
            <a:r>
              <a:rPr lang="en-US" sz="1000" dirty="0" smtClean="0"/>
              <a:t>In-Process</a:t>
            </a:r>
          </a:p>
          <a:p>
            <a:r>
              <a:rPr lang="en-US" sz="1000" dirty="0" smtClean="0"/>
              <a:t>10.     AP </a:t>
            </a:r>
            <a:r>
              <a:rPr lang="en-US" sz="1000" dirty="0"/>
              <a:t>Tax Approval In-Process</a:t>
            </a:r>
          </a:p>
          <a:p>
            <a:pPr marL="228600" indent="-228600">
              <a:buAutoNum type="arabicPeriod" startAt="10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/>
          </a:p>
          <a:p>
            <a:pPr marL="342900" indent="-342900">
              <a:buAutoNum type="arabicPeriod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 smtClean="0"/>
          </a:p>
          <a:p>
            <a:pPr marL="342900" indent="-342900">
              <a:buAutoNum type="arabicPeriod"/>
            </a:pPr>
            <a:endParaRPr lang="en-US" sz="1000" dirty="0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2057975" y="3235456"/>
            <a:ext cx="678" cy="774986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1484533" y="3631251"/>
            <a:ext cx="1222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5 – Errors/Queries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413338" y="1736713"/>
            <a:ext cx="17882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6 – Assign request back to AR Requestor for editing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2" name="Flowchart: Predefined Process 61"/>
          <p:cNvSpPr/>
          <p:nvPr/>
        </p:nvSpPr>
        <p:spPr>
          <a:xfrm>
            <a:off x="2864242" y="2798448"/>
            <a:ext cx="5436913" cy="346657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Share Point Integration</a:t>
            </a:r>
            <a:endParaRPr lang="en-US" sz="1000" dirty="0"/>
          </a:p>
        </p:txBody>
      </p:sp>
      <p:cxnSp>
        <p:nvCxnSpPr>
          <p:cNvPr id="143" name="Elbow Connector 142"/>
          <p:cNvCxnSpPr>
            <a:stCxn id="62" idx="3"/>
            <a:endCxn id="82" idx="2"/>
          </p:cNvCxnSpPr>
          <p:nvPr/>
        </p:nvCxnSpPr>
        <p:spPr>
          <a:xfrm flipV="1">
            <a:off x="8301155" y="2376292"/>
            <a:ext cx="1309189" cy="595485"/>
          </a:xfrm>
          <a:prstGeom prst="bentConnector2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 flipV="1">
            <a:off x="1822235" y="1396754"/>
            <a:ext cx="0" cy="1328914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72356"/>
            <a:ext cx="10515600" cy="369282"/>
          </a:xfrm>
        </p:spPr>
        <p:txBody>
          <a:bodyPr>
            <a:normAutofit fontScale="90000"/>
          </a:bodyPr>
          <a:lstStyle/>
          <a:p>
            <a:r>
              <a:rPr lang="en-US" sz="2400" b="1" smtClean="0"/>
              <a:t>Sundry Auto-Approval Functional Flow Diagram </a:t>
            </a:r>
            <a:endParaRPr lang="en-US" sz="2400" b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1249648" y="820284"/>
            <a:ext cx="8296688" cy="5146558"/>
            <a:chOff x="1683773" y="1494503"/>
            <a:chExt cx="9946314" cy="6314930"/>
          </a:xfrm>
        </p:grpSpPr>
        <p:sp>
          <p:nvSpPr>
            <p:cNvPr id="4" name="TextBox 3"/>
            <p:cNvSpPr txBox="1"/>
            <p:nvPr/>
          </p:nvSpPr>
          <p:spPr>
            <a:xfrm>
              <a:off x="2303207" y="3592016"/>
              <a:ext cx="9326880" cy="2077492"/>
            </a:xfrm>
            <a:prstGeom prst="rect">
              <a:avLst/>
            </a:prstGeom>
            <a:noFill/>
          </p:spPr>
          <p:txBody>
            <a:bodyPr wrap="square" tIns="91440" rIns="91440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683773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R Country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8443451" y="1622322"/>
              <a:ext cx="1966452" cy="707923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 Country</a:t>
              </a:r>
            </a:p>
          </p:txBody>
        </p:sp>
        <p:cxnSp>
          <p:nvCxnSpPr>
            <p:cNvPr id="13" name="Straight Arrow Connector 12"/>
            <p:cNvCxnSpPr>
              <a:stCxn id="6" idx="3"/>
              <a:endCxn id="2" idx="1"/>
            </p:cNvCxnSpPr>
            <p:nvPr/>
          </p:nvCxnSpPr>
          <p:spPr>
            <a:xfrm>
              <a:off x="3650225" y="1976284"/>
              <a:ext cx="1818968" cy="1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/>
            <p:cNvSpPr/>
            <p:nvPr/>
          </p:nvSpPr>
          <p:spPr>
            <a:xfrm>
              <a:off x="5469193" y="1494503"/>
              <a:ext cx="1042220" cy="96356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utomation through Smart Contracts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719053" y="1710814"/>
              <a:ext cx="1750141" cy="3124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1 - Request Initiated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594599" y="2788786"/>
              <a:ext cx="2933478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2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</a:t>
              </a:r>
              <a:r>
                <a:rPr lang="en-US" sz="100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Request 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reated and Auto-Approved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296882" y="4624266"/>
              <a:ext cx="1718527" cy="302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3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- Post Request </a:t>
              </a:r>
              <a:r>
                <a:rPr lang="en-US" sz="100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to 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SAP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683773" y="4166190"/>
              <a:ext cx="9103978" cy="3643243"/>
              <a:chOff x="1584427" y="3736513"/>
              <a:chExt cx="9103978" cy="3643243"/>
            </a:xfrm>
          </p:grpSpPr>
          <p:sp>
            <p:nvSpPr>
              <p:cNvPr id="9" name="Rounded Rectangle 8"/>
              <p:cNvSpPr/>
              <p:nvPr/>
            </p:nvSpPr>
            <p:spPr>
              <a:xfrm>
                <a:off x="2303207" y="3736513"/>
                <a:ext cx="7669162" cy="265545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smtClean="0">
                    <a:solidFill>
                      <a:schemeClr val="tx2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G Admin</a:t>
                </a:r>
                <a:endPara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53" name="Group 52"/>
              <p:cNvGrpSpPr/>
              <p:nvPr/>
            </p:nvGrpSpPr>
            <p:grpSpPr>
              <a:xfrm>
                <a:off x="1584427" y="3997339"/>
                <a:ext cx="2776609" cy="3381173"/>
                <a:chOff x="1225121" y="4021225"/>
                <a:chExt cx="2776609" cy="3381173"/>
              </a:xfrm>
            </p:grpSpPr>
            <p:sp>
              <p:nvSpPr>
                <p:cNvPr id="14" name="Rounded Rectangle 13"/>
                <p:cNvSpPr/>
                <p:nvPr/>
              </p:nvSpPr>
              <p:spPr>
                <a:xfrm>
                  <a:off x="1225121" y="6694475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R Country)</a:t>
                  </a:r>
                </a:p>
              </p:txBody>
            </p:sp>
            <p:cxnSp>
              <p:nvCxnSpPr>
                <p:cNvPr id="34" name="Straight Arrow Connector 33"/>
                <p:cNvCxnSpPr/>
                <p:nvPr/>
              </p:nvCxnSpPr>
              <p:spPr>
                <a:xfrm flipH="1">
                  <a:off x="2719659" y="4021225"/>
                  <a:ext cx="3877" cy="976589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Arrow Connector 35"/>
                <p:cNvCxnSpPr/>
                <p:nvPr/>
              </p:nvCxnSpPr>
              <p:spPr>
                <a:xfrm flipH="1" flipV="1">
                  <a:off x="3993953" y="4021225"/>
                  <a:ext cx="7777" cy="1227432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53"/>
              <p:cNvGrpSpPr/>
              <p:nvPr/>
            </p:nvGrpSpPr>
            <p:grpSpPr>
              <a:xfrm>
                <a:off x="7862857" y="4001825"/>
                <a:ext cx="2447701" cy="3377931"/>
                <a:chOff x="5894438" y="4021225"/>
                <a:chExt cx="2447701" cy="3377931"/>
              </a:xfrm>
            </p:grpSpPr>
            <p:sp>
              <p:nvSpPr>
                <p:cNvPr id="21" name="Rounded Rectangle 20"/>
                <p:cNvSpPr/>
                <p:nvPr/>
              </p:nvSpPr>
              <p:spPr>
                <a:xfrm>
                  <a:off x="6375687" y="6691233"/>
                  <a:ext cx="1966452" cy="707923"/>
                </a:xfrm>
                <a:prstGeom prst="round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400" b="1" dirty="0">
                      <a:solidFill>
                        <a:schemeClr val="tx2">
                          <a:lumMod val="50000"/>
                        </a:schemeClr>
                      </a:solidFill>
                      <a:latin typeface="Calibri" panose="020F0502020204030204" pitchFamily="34" charset="0"/>
                    </a:rPr>
                    <a:t>SAP (AP Country)</a:t>
                  </a:r>
                </a:p>
              </p:txBody>
            </p:sp>
            <p:cxnSp>
              <p:nvCxnSpPr>
                <p:cNvPr id="37" name="Straight Arrow Connector 36"/>
                <p:cNvCxnSpPr/>
                <p:nvPr/>
              </p:nvCxnSpPr>
              <p:spPr>
                <a:xfrm>
                  <a:off x="5894438" y="4021225"/>
                  <a:ext cx="4282" cy="1222944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Arrow Connector 37"/>
                <p:cNvCxnSpPr/>
                <p:nvPr/>
              </p:nvCxnSpPr>
              <p:spPr>
                <a:xfrm flipH="1" flipV="1">
                  <a:off x="7123471" y="4021225"/>
                  <a:ext cx="9830" cy="1222945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2" name="TextBox 51"/>
              <p:cNvSpPr txBox="1"/>
              <p:nvPr/>
            </p:nvSpPr>
            <p:spPr>
              <a:xfrm>
                <a:off x="3555068" y="4385776"/>
                <a:ext cx="267690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4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Download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 Invoice Number from SAP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upload to Blockchain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7030166" y="4148333"/>
                <a:ext cx="1707737" cy="3021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5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Post Request </a:t>
                </a:r>
                <a:r>
                  <a:rPr lang="en-US" sz="100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to </a:t>
                </a:r>
                <a:r>
                  <a:rPr lang="en-US" sz="100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SAP</a:t>
                </a:r>
                <a:endParaRPr lang="en-US" sz="1000" dirty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8132968" y="4401688"/>
                <a:ext cx="2555437" cy="4909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6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- Download SAP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Number doc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from SAP </a:t>
                </a:r>
                <a:r>
                  <a:rPr lang="en-US" sz="1000" dirty="0" smtClean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and </a:t>
                </a:r>
                <a:r>
                  <a:rPr lang="en-US" sz="1000" dirty="0">
                    <a:solidFill>
                      <a:schemeClr val="tx2">
                        <a:lumMod val="50000"/>
                      </a:schemeClr>
                    </a:solidFill>
                    <a:latin typeface="Calibri" pitchFamily="34" charset="0"/>
                    <a:cs typeface="Calibri" pitchFamily="34" charset="0"/>
                  </a:rPr>
                  <a:t>upload to Blockchain</a:t>
                </a:r>
              </a:p>
            </p:txBody>
          </p:sp>
        </p:grpSp>
        <p:cxnSp>
          <p:nvCxnSpPr>
            <p:cNvPr id="12" name="Elbow Connector 11"/>
            <p:cNvCxnSpPr>
              <a:stCxn id="2" idx="2"/>
            </p:cNvCxnSpPr>
            <p:nvPr/>
          </p:nvCxnSpPr>
          <p:spPr>
            <a:xfrm rot="16200000" flipH="1">
              <a:off x="5306750" y="3141619"/>
              <a:ext cx="1708125" cy="34101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ounded Rectangle 40"/>
          <p:cNvSpPr/>
          <p:nvPr/>
        </p:nvSpPr>
        <p:spPr>
          <a:xfrm>
            <a:off x="1864620" y="3978702"/>
            <a:ext cx="6397208" cy="21641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d Drive /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Share Point</a:t>
            </a:r>
            <a:endParaRPr lang="en-US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5" name="Picture 44" descr="A picture containing text&#10;&#10;Description generated with high confidence">
            <a:extLst>
              <a:ext uri="{FF2B5EF4-FFF2-40B4-BE49-F238E27FC236}">
                <a16:creationId xmlns:a16="http://schemas.microsoft.com/office/drawing/2014/main" xmlns="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94" y="4645105"/>
            <a:ext cx="630715" cy="630715"/>
          </a:xfrm>
          <a:prstGeom prst="rect">
            <a:avLst/>
          </a:prstGeom>
        </p:spPr>
      </p:pic>
      <p:sp>
        <p:nvSpPr>
          <p:cNvPr id="77" name="Up-Down Arrow 76"/>
          <p:cNvSpPr/>
          <p:nvPr/>
        </p:nvSpPr>
        <p:spPr>
          <a:xfrm>
            <a:off x="4901181" y="4186667"/>
            <a:ext cx="135912" cy="441347"/>
          </a:xfrm>
          <a:prstGeom prst="upDown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Left-Up Arrow 78"/>
          <p:cNvSpPr/>
          <p:nvPr/>
        </p:nvSpPr>
        <p:spPr>
          <a:xfrm>
            <a:off x="2889957" y="5339452"/>
            <a:ext cx="2011224" cy="390751"/>
          </a:xfrm>
          <a:prstGeom prst="leftUpArrow">
            <a:avLst>
              <a:gd name="adj1" fmla="val 14398"/>
              <a:gd name="adj2" fmla="val 22349"/>
              <a:gd name="adj3" fmla="val 2500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Left-Up Arrow 79"/>
          <p:cNvSpPr/>
          <p:nvPr/>
        </p:nvSpPr>
        <p:spPr>
          <a:xfrm rot="10800000" flipV="1">
            <a:off x="5102553" y="5339451"/>
            <a:ext cx="1785659" cy="390751"/>
          </a:xfrm>
          <a:prstGeom prst="leftUpArrow">
            <a:avLst>
              <a:gd name="adj1" fmla="val 14398"/>
              <a:gd name="adj2" fmla="val 22349"/>
              <a:gd name="adj3" fmla="val 34679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Flowchart: Predefined Process 81"/>
          <p:cNvSpPr/>
          <p:nvPr/>
        </p:nvSpPr>
        <p:spPr>
          <a:xfrm>
            <a:off x="7916882" y="2029441"/>
            <a:ext cx="1419142" cy="571365"/>
          </a:xfrm>
          <a:prstGeom prst="flowChartPredefinedProcess">
            <a:avLst/>
          </a:prstGeom>
          <a:solidFill>
            <a:srgbClr val="FF5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smtClean="0"/>
              <a:t>County specific Exception / Query Handling</a:t>
            </a:r>
            <a:endParaRPr lang="en-US" sz="1000"/>
          </a:p>
        </p:txBody>
      </p:sp>
      <p:cxnSp>
        <p:nvCxnSpPr>
          <p:cNvPr id="87" name="Elbow Connector 86"/>
          <p:cNvCxnSpPr>
            <a:stCxn id="9" idx="3"/>
            <a:endCxn id="82" idx="2"/>
          </p:cNvCxnSpPr>
          <p:nvPr/>
        </p:nvCxnSpPr>
        <p:spPr>
          <a:xfrm flipV="1">
            <a:off x="8246425" y="2600806"/>
            <a:ext cx="380028" cy="505064"/>
          </a:xfrm>
          <a:prstGeom prst="bentConnector2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8" idx="2"/>
            <a:endCxn id="82" idx="0"/>
          </p:cNvCxnSpPr>
          <p:nvPr/>
        </p:nvCxnSpPr>
        <p:spPr>
          <a:xfrm rot="16200000" flipH="1">
            <a:off x="7903389" y="1306377"/>
            <a:ext cx="528042" cy="918085"/>
          </a:xfrm>
          <a:prstGeom prst="bentConnector3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6" idx="1"/>
            <a:endCxn id="41" idx="1"/>
          </p:cNvCxnSpPr>
          <p:nvPr/>
        </p:nvCxnSpPr>
        <p:spPr>
          <a:xfrm rot="10800000" flipH="1" flipV="1">
            <a:off x="1249648" y="1212926"/>
            <a:ext cx="614972" cy="2873983"/>
          </a:xfrm>
          <a:prstGeom prst="bentConnector3">
            <a:avLst>
              <a:gd name="adj1" fmla="val -37172"/>
            </a:avLst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290625" y="2760920"/>
            <a:ext cx="16794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ull Master Data (frequency based integration)</a:t>
            </a:r>
            <a:endParaRPr lang="en-US" sz="10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68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395" y="-89"/>
            <a:ext cx="10515600" cy="976401"/>
          </a:xfrm>
        </p:spPr>
        <p:txBody>
          <a:bodyPr>
            <a:normAutofit/>
          </a:bodyPr>
          <a:lstStyle/>
          <a:p>
            <a:r>
              <a:rPr lang="en-US" sz="2200" b="1" smtClean="0"/>
              <a:t>Sundry Invoicing - Logical </a:t>
            </a:r>
            <a:r>
              <a:rPr lang="en-US" sz="2200" b="1" dirty="0"/>
              <a:t>Architectur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58318" y="976312"/>
            <a:ext cx="11706086" cy="4828176"/>
            <a:chOff x="258902" y="1439274"/>
            <a:chExt cx="11706086" cy="4828176"/>
          </a:xfrm>
        </p:grpSpPr>
        <p:sp>
          <p:nvSpPr>
            <p:cNvPr id="6" name="Rounded Rectangle 5"/>
            <p:cNvSpPr/>
            <p:nvPr/>
          </p:nvSpPr>
          <p:spPr>
            <a:xfrm>
              <a:off x="258902" y="3505933"/>
              <a:ext cx="9483860" cy="2761517"/>
            </a:xfrm>
            <a:prstGeom prst="roundRect">
              <a:avLst>
                <a:gd name="adj" fmla="val 8651"/>
              </a:avLst>
            </a:prstGeom>
            <a:solidFill>
              <a:srgbClr val="F2F3F4"/>
            </a:soli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+mj-lt"/>
                </a:rPr>
                <a:t>Blockchain services 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58902" y="2007727"/>
              <a:ext cx="9483860" cy="1286233"/>
            </a:xfrm>
            <a:prstGeom prst="roundRect">
              <a:avLst/>
            </a:prstGeom>
            <a:solidFill>
              <a:srgbClr val="F2F3F4"/>
            </a:soli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+mj-lt"/>
                </a:rPr>
                <a:t>Business </a:t>
              </a:r>
              <a:r>
                <a:rPr lang="en-US" sz="1050" dirty="0" err="1">
                  <a:solidFill>
                    <a:schemeClr val="tx1"/>
                  </a:solidFill>
                  <a:latin typeface="+mj-lt"/>
                </a:rPr>
                <a:t>Api</a:t>
              </a:r>
              <a:r>
                <a:rPr lang="en-US" sz="1050" dirty="0">
                  <a:solidFill>
                    <a:schemeClr val="tx1"/>
                  </a:solidFill>
                  <a:latin typeface="+mj-lt"/>
                </a:rPr>
                <a:t> layer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470857" y="2320659"/>
              <a:ext cx="3049589" cy="90027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Infra Services 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6591507" y="2571851"/>
              <a:ext cx="1344613" cy="243051"/>
            </a:xfrm>
            <a:prstGeom prst="round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sg</a:t>
              </a:r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Transform 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6591507" y="2921524"/>
              <a:ext cx="1344613" cy="243051"/>
            </a:xfrm>
            <a:prstGeom prst="round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udit / logging </a:t>
              </a: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8071057" y="2571851"/>
              <a:ext cx="1344613" cy="243051"/>
            </a:xfrm>
            <a:prstGeom prst="round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isteners/ </a:t>
              </a:r>
              <a:r>
                <a:rPr lang="en-US" sz="9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notifiers</a:t>
              </a:r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8071057" y="2921524"/>
              <a:ext cx="1344613" cy="243051"/>
            </a:xfrm>
            <a:prstGeom prst="round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rror handlers </a:t>
              </a: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3457783" y="5198929"/>
              <a:ext cx="2538413" cy="97039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Blockchain </a:t>
              </a:r>
            </a:p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Network / </a:t>
              </a:r>
            </a:p>
            <a:p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Shared Ledger 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74871" y="3890815"/>
              <a:ext cx="2127952" cy="99134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Chaincode serv.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2827420" y="3890815"/>
              <a:ext cx="3271870" cy="99134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Blockchain / Transaction Services 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6248575" y="3890815"/>
              <a:ext cx="3271870" cy="99134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Membership services 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2955897" y="4131024"/>
              <a:ext cx="1384692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nsensus</a:t>
              </a: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2955898" y="4480697"/>
              <a:ext cx="2968285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edger / storage services </a:t>
              </a: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4607059" y="4131024"/>
              <a:ext cx="1317124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2p protocol</a:t>
              </a: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6499818" y="4131024"/>
              <a:ext cx="1384692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gistration 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8150981" y="4131024"/>
              <a:ext cx="1317124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dentity mgmt.</a:t>
              </a: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6499819" y="4480697"/>
              <a:ext cx="2968285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uditability </a:t>
              </a:r>
            </a:p>
          </p:txBody>
        </p:sp>
        <p:sp>
          <p:nvSpPr>
            <p:cNvPr id="39" name="Left-Right Arrow 38"/>
            <p:cNvSpPr/>
            <p:nvPr/>
          </p:nvSpPr>
          <p:spPr>
            <a:xfrm>
              <a:off x="1150232" y="4893480"/>
              <a:ext cx="7623638" cy="342555"/>
            </a:xfrm>
            <a:prstGeom prst="leftRightArrow">
              <a:avLst/>
            </a:prstGeom>
            <a:solidFill>
              <a:srgbClr val="7030A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vent Streaming </a:t>
              </a:r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680436" y="4245389"/>
              <a:ext cx="1612143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ecure container 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680436" y="4576448"/>
              <a:ext cx="1612143" cy="243051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ecure registry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4680698" y="5273928"/>
              <a:ext cx="964123" cy="878584"/>
              <a:chOff x="-1381062" y="3116116"/>
              <a:chExt cx="1307043" cy="1191080"/>
            </a:xfrm>
          </p:grpSpPr>
          <p:grpSp>
            <p:nvGrpSpPr>
              <p:cNvPr id="43" name="Groupe 589"/>
              <p:cNvGrpSpPr/>
              <p:nvPr/>
            </p:nvGrpSpPr>
            <p:grpSpPr>
              <a:xfrm>
                <a:off x="-1381062" y="3660099"/>
                <a:ext cx="227013" cy="209551"/>
                <a:chOff x="331789" y="3817938"/>
                <a:chExt cx="433388" cy="400051"/>
              </a:xfrm>
            </p:grpSpPr>
            <p:sp>
              <p:nvSpPr>
                <p:cNvPr id="144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5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6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7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8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9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50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4" name="Groupe 589"/>
              <p:cNvGrpSpPr/>
              <p:nvPr/>
            </p:nvGrpSpPr>
            <p:grpSpPr>
              <a:xfrm>
                <a:off x="-1279462" y="3351066"/>
                <a:ext cx="227013" cy="209551"/>
                <a:chOff x="331789" y="3817938"/>
                <a:chExt cx="433388" cy="400051"/>
              </a:xfrm>
            </p:grpSpPr>
            <p:sp>
              <p:nvSpPr>
                <p:cNvPr id="137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8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9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0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1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2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3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5" name="Groupe 589"/>
              <p:cNvGrpSpPr/>
              <p:nvPr/>
            </p:nvGrpSpPr>
            <p:grpSpPr>
              <a:xfrm>
                <a:off x="-1010645" y="3116116"/>
                <a:ext cx="227013" cy="209551"/>
                <a:chOff x="331789" y="3817938"/>
                <a:chExt cx="433388" cy="400051"/>
              </a:xfrm>
            </p:grpSpPr>
            <p:sp>
              <p:nvSpPr>
                <p:cNvPr id="130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1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2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3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4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5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36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6" name="Groupe 589"/>
              <p:cNvGrpSpPr/>
              <p:nvPr/>
            </p:nvGrpSpPr>
            <p:grpSpPr>
              <a:xfrm>
                <a:off x="-528045" y="3141515"/>
                <a:ext cx="227013" cy="209551"/>
                <a:chOff x="331789" y="3817938"/>
                <a:chExt cx="433388" cy="400051"/>
              </a:xfrm>
            </p:grpSpPr>
            <p:sp>
              <p:nvSpPr>
                <p:cNvPr id="123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4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5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6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7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8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9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7" name="Groupe 589"/>
              <p:cNvGrpSpPr/>
              <p:nvPr/>
            </p:nvGrpSpPr>
            <p:grpSpPr>
              <a:xfrm>
                <a:off x="-352362" y="3401263"/>
                <a:ext cx="227013" cy="209551"/>
                <a:chOff x="331789" y="3817938"/>
                <a:chExt cx="433388" cy="400051"/>
              </a:xfrm>
            </p:grpSpPr>
            <p:sp>
              <p:nvSpPr>
                <p:cNvPr id="116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7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8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9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0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1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2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8" name="Groupe 589"/>
              <p:cNvGrpSpPr/>
              <p:nvPr/>
            </p:nvGrpSpPr>
            <p:grpSpPr>
              <a:xfrm>
                <a:off x="-301032" y="3716645"/>
                <a:ext cx="227013" cy="209551"/>
                <a:chOff x="331789" y="3817938"/>
                <a:chExt cx="433388" cy="400051"/>
              </a:xfrm>
            </p:grpSpPr>
            <p:sp>
              <p:nvSpPr>
                <p:cNvPr id="109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0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1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2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3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4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15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9" name="Groupe 589"/>
              <p:cNvGrpSpPr/>
              <p:nvPr/>
            </p:nvGrpSpPr>
            <p:grpSpPr>
              <a:xfrm>
                <a:off x="-425765" y="4062720"/>
                <a:ext cx="227013" cy="209551"/>
                <a:chOff x="331789" y="3817938"/>
                <a:chExt cx="433388" cy="400051"/>
              </a:xfrm>
            </p:grpSpPr>
            <p:sp>
              <p:nvSpPr>
                <p:cNvPr id="102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3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4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5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6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7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8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50" name="Groupe 589"/>
              <p:cNvGrpSpPr/>
              <p:nvPr/>
            </p:nvGrpSpPr>
            <p:grpSpPr>
              <a:xfrm>
                <a:off x="-814888" y="4097645"/>
                <a:ext cx="227013" cy="209551"/>
                <a:chOff x="331789" y="3817938"/>
                <a:chExt cx="433388" cy="400051"/>
              </a:xfrm>
            </p:grpSpPr>
            <p:sp>
              <p:nvSpPr>
                <p:cNvPr id="95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6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7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8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9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1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51" name="Groupe 589"/>
              <p:cNvGrpSpPr/>
              <p:nvPr/>
            </p:nvGrpSpPr>
            <p:grpSpPr>
              <a:xfrm>
                <a:off x="-1350976" y="4024468"/>
                <a:ext cx="227013" cy="209551"/>
                <a:chOff x="331789" y="3817938"/>
                <a:chExt cx="433388" cy="400051"/>
              </a:xfrm>
            </p:grpSpPr>
            <p:sp>
              <p:nvSpPr>
                <p:cNvPr id="88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9" name="Oval 322"/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0" name="Freeform 323"/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1" name="Freeform 324"/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2" name="Freeform 325"/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3" name="Freeform 326"/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4" name="Freeform 327"/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70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52" name="Oval 51"/>
              <p:cNvSpPr/>
              <p:nvPr/>
            </p:nvSpPr>
            <p:spPr>
              <a:xfrm>
                <a:off x="-784382" y="3567425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-628620" y="337329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-479815" y="3550945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-425765" y="3818856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6" name="Oval 55"/>
              <p:cNvSpPr/>
              <p:nvPr/>
            </p:nvSpPr>
            <p:spPr>
              <a:xfrm>
                <a:off x="-516819" y="407270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-590972" y="3805017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-726742" y="398913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9" name="Oval 58"/>
              <p:cNvSpPr/>
              <p:nvPr/>
            </p:nvSpPr>
            <p:spPr>
              <a:xfrm>
                <a:off x="-910817" y="378732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-1115865" y="401533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-1107831" y="3769449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-1011569" y="3514920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3" name="Oval 62"/>
              <p:cNvSpPr/>
              <p:nvPr/>
            </p:nvSpPr>
            <p:spPr>
              <a:xfrm>
                <a:off x="-837903" y="333148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 err="1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cxnSp>
            <p:nvCxnSpPr>
              <p:cNvPr id="64" name="Straight Connector 63"/>
              <p:cNvCxnSpPr>
                <a:stCxn id="63" idx="4"/>
                <a:endCxn id="52" idx="0"/>
              </p:cNvCxnSpPr>
              <p:nvPr/>
            </p:nvCxnSpPr>
            <p:spPr>
              <a:xfrm>
                <a:off x="-797158" y="3412978"/>
                <a:ext cx="53521" cy="15444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stCxn id="63" idx="6"/>
                <a:endCxn id="53" idx="2"/>
              </p:cNvCxnSpPr>
              <p:nvPr/>
            </p:nvCxnSpPr>
            <p:spPr>
              <a:xfrm>
                <a:off x="-756413" y="3372233"/>
                <a:ext cx="127793" cy="4181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>
                <a:stCxn id="53" idx="5"/>
                <a:endCxn id="54" idx="1"/>
              </p:cNvCxnSpPr>
              <p:nvPr/>
            </p:nvCxnSpPr>
            <p:spPr>
              <a:xfrm>
                <a:off x="-559064" y="3442854"/>
                <a:ext cx="91183" cy="12002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>
                <a:stCxn id="54" idx="5"/>
                <a:endCxn id="55" idx="0"/>
              </p:cNvCxnSpPr>
              <p:nvPr/>
            </p:nvCxnSpPr>
            <p:spPr>
              <a:xfrm>
                <a:off x="-410259" y="3620501"/>
                <a:ext cx="25239" cy="19835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>
                <a:stCxn id="55" idx="4"/>
                <a:endCxn id="56" idx="7"/>
              </p:cNvCxnSpPr>
              <p:nvPr/>
            </p:nvCxnSpPr>
            <p:spPr>
              <a:xfrm flipH="1">
                <a:off x="-447263" y="3900346"/>
                <a:ext cx="62243" cy="18428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>
                <a:stCxn id="56" idx="2"/>
                <a:endCxn id="58" idx="5"/>
              </p:cNvCxnSpPr>
              <p:nvPr/>
            </p:nvCxnSpPr>
            <p:spPr>
              <a:xfrm flipH="1" flipV="1">
                <a:off x="-657186" y="4058687"/>
                <a:ext cx="140367" cy="5475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>
                <a:stCxn id="58" idx="2"/>
                <a:endCxn id="60" idx="6"/>
              </p:cNvCxnSpPr>
              <p:nvPr/>
            </p:nvCxnSpPr>
            <p:spPr>
              <a:xfrm flipH="1">
                <a:off x="-1034375" y="4029876"/>
                <a:ext cx="307633" cy="2620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>
                <a:stCxn id="60" idx="0"/>
                <a:endCxn id="61" idx="4"/>
              </p:cNvCxnSpPr>
              <p:nvPr/>
            </p:nvCxnSpPr>
            <p:spPr>
              <a:xfrm flipV="1">
                <a:off x="-1075120" y="3850939"/>
                <a:ext cx="8034" cy="16439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>
                <a:stCxn id="61" idx="0"/>
                <a:endCxn id="62" idx="3"/>
              </p:cNvCxnSpPr>
              <p:nvPr/>
            </p:nvCxnSpPr>
            <p:spPr>
              <a:xfrm flipV="1">
                <a:off x="-1067086" y="3584476"/>
                <a:ext cx="67451" cy="184973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>
                <a:stCxn id="62" idx="0"/>
                <a:endCxn id="63" idx="3"/>
              </p:cNvCxnSpPr>
              <p:nvPr/>
            </p:nvCxnSpPr>
            <p:spPr>
              <a:xfrm flipV="1">
                <a:off x="-970824" y="3401044"/>
                <a:ext cx="144855" cy="11387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>
                <a:stCxn id="52" idx="7"/>
                <a:endCxn id="53" idx="3"/>
              </p:cNvCxnSpPr>
              <p:nvPr/>
            </p:nvCxnSpPr>
            <p:spPr>
              <a:xfrm flipV="1">
                <a:off x="-714826" y="3442854"/>
                <a:ext cx="98140" cy="13650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>
                <a:stCxn id="52" idx="6"/>
                <a:endCxn id="54" idx="2"/>
              </p:cNvCxnSpPr>
              <p:nvPr/>
            </p:nvCxnSpPr>
            <p:spPr>
              <a:xfrm flipV="1">
                <a:off x="-702892" y="3591690"/>
                <a:ext cx="223077" cy="1648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>
                <a:stCxn id="52" idx="5"/>
                <a:endCxn id="57" idx="1"/>
              </p:cNvCxnSpPr>
              <p:nvPr/>
            </p:nvCxnSpPr>
            <p:spPr>
              <a:xfrm>
                <a:off x="-714826" y="3636981"/>
                <a:ext cx="135788" cy="17997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>
                <a:stCxn id="54" idx="4"/>
                <a:endCxn id="57" idx="0"/>
              </p:cNvCxnSpPr>
              <p:nvPr/>
            </p:nvCxnSpPr>
            <p:spPr>
              <a:xfrm flipH="1">
                <a:off x="-550227" y="3632435"/>
                <a:ext cx="111157" cy="17258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>
                <a:stCxn id="57" idx="6"/>
                <a:endCxn id="55" idx="2"/>
              </p:cNvCxnSpPr>
              <p:nvPr/>
            </p:nvCxnSpPr>
            <p:spPr>
              <a:xfrm>
                <a:off x="-509482" y="3845762"/>
                <a:ext cx="83717" cy="1383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>
                <a:stCxn id="57" idx="4"/>
                <a:endCxn id="56" idx="0"/>
              </p:cNvCxnSpPr>
              <p:nvPr/>
            </p:nvCxnSpPr>
            <p:spPr>
              <a:xfrm>
                <a:off x="-550227" y="3886507"/>
                <a:ext cx="74153" cy="186194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>
                <a:stCxn id="57" idx="3"/>
                <a:endCxn id="58" idx="7"/>
              </p:cNvCxnSpPr>
              <p:nvPr/>
            </p:nvCxnSpPr>
            <p:spPr>
              <a:xfrm flipH="1">
                <a:off x="-657186" y="3874573"/>
                <a:ext cx="78148" cy="12649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>
                <a:stCxn id="52" idx="3"/>
                <a:endCxn id="59" idx="7"/>
              </p:cNvCxnSpPr>
              <p:nvPr/>
            </p:nvCxnSpPr>
            <p:spPr>
              <a:xfrm flipH="1">
                <a:off x="-841261" y="3636981"/>
                <a:ext cx="68813" cy="1622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>
                <a:stCxn id="62" idx="6"/>
                <a:endCxn id="52" idx="2"/>
              </p:cNvCxnSpPr>
              <p:nvPr/>
            </p:nvCxnSpPr>
            <p:spPr>
              <a:xfrm>
                <a:off x="-930079" y="3555665"/>
                <a:ext cx="145697" cy="5250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>
                <a:stCxn id="62" idx="4"/>
                <a:endCxn id="59" idx="1"/>
              </p:cNvCxnSpPr>
              <p:nvPr/>
            </p:nvCxnSpPr>
            <p:spPr>
              <a:xfrm>
                <a:off x="-970824" y="3596410"/>
                <a:ext cx="71941" cy="20285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>
                <a:stCxn id="61" idx="6"/>
                <a:endCxn id="59" idx="2"/>
              </p:cNvCxnSpPr>
              <p:nvPr/>
            </p:nvCxnSpPr>
            <p:spPr>
              <a:xfrm>
                <a:off x="-1026341" y="3810194"/>
                <a:ext cx="115524" cy="1787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>
                <a:stCxn id="59" idx="3"/>
                <a:endCxn id="60" idx="7"/>
              </p:cNvCxnSpPr>
              <p:nvPr/>
            </p:nvCxnSpPr>
            <p:spPr>
              <a:xfrm flipH="1">
                <a:off x="-1046309" y="3856884"/>
                <a:ext cx="147426" cy="1703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>
                <a:stCxn id="59" idx="5"/>
                <a:endCxn id="58" idx="1"/>
              </p:cNvCxnSpPr>
              <p:nvPr/>
            </p:nvCxnSpPr>
            <p:spPr>
              <a:xfrm>
                <a:off x="-841261" y="3856884"/>
                <a:ext cx="126453" cy="1441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>
                <a:stCxn id="59" idx="6"/>
                <a:endCxn id="57" idx="2"/>
              </p:cNvCxnSpPr>
              <p:nvPr/>
            </p:nvCxnSpPr>
            <p:spPr>
              <a:xfrm>
                <a:off x="-829327" y="3828073"/>
                <a:ext cx="238355" cy="1768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1" name="Rounded Rectangle 150"/>
            <p:cNvSpPr/>
            <p:nvPr/>
          </p:nvSpPr>
          <p:spPr>
            <a:xfrm>
              <a:off x="258902" y="1439274"/>
              <a:ext cx="9483860" cy="345271"/>
            </a:xfrm>
            <a:prstGeom prst="roundRect">
              <a:avLst/>
            </a:prstGeom>
            <a:solidFill>
              <a:srgbClr val="F2F3F4"/>
            </a:soli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dirty="0" err="1">
                  <a:solidFill>
                    <a:schemeClr val="tx1"/>
                  </a:solidFill>
                  <a:latin typeface="+mj-lt"/>
                </a:rPr>
                <a:t>DApp</a:t>
              </a:r>
              <a:r>
                <a:rPr lang="en-US" sz="1050" dirty="0">
                  <a:solidFill>
                    <a:schemeClr val="tx1"/>
                  </a:solidFill>
                  <a:latin typeface="+mj-lt"/>
                </a:rPr>
                <a:t> / UI</a:t>
              </a:r>
            </a:p>
          </p:txBody>
        </p:sp>
        <p:sp>
          <p:nvSpPr>
            <p:cNvPr id="152" name="Rounded Rectangle 151"/>
            <p:cNvSpPr/>
            <p:nvPr/>
          </p:nvSpPr>
          <p:spPr>
            <a:xfrm>
              <a:off x="474872" y="2377974"/>
              <a:ext cx="1026579" cy="80181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User Mgmt. Services </a:t>
              </a:r>
            </a:p>
          </p:txBody>
        </p:sp>
        <p:sp>
          <p:nvSpPr>
            <p:cNvPr id="153" name="Rounded Rectangle 152"/>
            <p:cNvSpPr/>
            <p:nvPr/>
          </p:nvSpPr>
          <p:spPr>
            <a:xfrm>
              <a:off x="1661644" y="2377974"/>
              <a:ext cx="1026579" cy="80181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Service Request Mgmt.</a:t>
              </a:r>
            </a:p>
          </p:txBody>
        </p:sp>
        <p:sp>
          <p:nvSpPr>
            <p:cNvPr id="154" name="Rounded Rectangle 153"/>
            <p:cNvSpPr/>
            <p:nvPr/>
          </p:nvSpPr>
          <p:spPr>
            <a:xfrm>
              <a:off x="2848417" y="2377974"/>
              <a:ext cx="1026579" cy="80181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Master Data Services</a:t>
              </a:r>
            </a:p>
          </p:txBody>
        </p:sp>
        <p:sp>
          <p:nvSpPr>
            <p:cNvPr id="155" name="Rounded Rectangle 154"/>
            <p:cNvSpPr/>
            <p:nvPr/>
          </p:nvSpPr>
          <p:spPr>
            <a:xfrm>
              <a:off x="4035189" y="2377974"/>
              <a:ext cx="1026579" cy="80181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dirty="0">
                  <a:solidFill>
                    <a:schemeClr val="tx2">
                      <a:lumMod val="50000"/>
                    </a:schemeClr>
                  </a:solidFill>
                </a:rPr>
                <a:t>Push / </a:t>
              </a:r>
              <a:r>
                <a:rPr lang="en-US" sz="1000">
                  <a:solidFill>
                    <a:schemeClr val="tx2">
                      <a:lumMod val="50000"/>
                    </a:schemeClr>
                  </a:solidFill>
                </a:rPr>
                <a:t>Pull 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</a:rPr>
                <a:t>services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6" name="Rounded Rectangle 155"/>
            <p:cNvSpPr/>
            <p:nvPr/>
          </p:nvSpPr>
          <p:spPr>
            <a:xfrm>
              <a:off x="5221961" y="2377974"/>
              <a:ext cx="1026579" cy="80181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>
                  <a:solidFill>
                    <a:schemeClr val="tx2">
                      <a:lumMod val="50000"/>
                    </a:schemeClr>
                  </a:solidFill>
                </a:rPr>
                <a:t>Reporting </a:t>
              </a:r>
              <a:r>
                <a:rPr lang="en-US" sz="1000" smtClean="0">
                  <a:solidFill>
                    <a:schemeClr val="tx2">
                      <a:lumMod val="50000"/>
                    </a:schemeClr>
                  </a:solidFill>
                </a:rPr>
                <a:t>Services</a:t>
              </a:r>
              <a:endParaRPr lang="en-US" sz="10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7" name="Rounded Rectangle 156"/>
            <p:cNvSpPr/>
            <p:nvPr/>
          </p:nvSpPr>
          <p:spPr>
            <a:xfrm>
              <a:off x="10227816" y="2007727"/>
              <a:ext cx="1737172" cy="2123297"/>
            </a:xfrm>
            <a:prstGeom prst="roundRect">
              <a:avLst/>
            </a:prstGeom>
            <a:solidFill>
              <a:srgbClr val="F2F3F4"/>
            </a:soli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  <a:latin typeface="+mj-lt"/>
                </a:rPr>
                <a:t>Interfaces</a:t>
              </a:r>
            </a:p>
          </p:txBody>
        </p:sp>
        <p:sp>
          <p:nvSpPr>
            <p:cNvPr id="158" name="Rounded Rectangle 157"/>
            <p:cNvSpPr/>
            <p:nvPr/>
          </p:nvSpPr>
          <p:spPr>
            <a:xfrm>
              <a:off x="10575995" y="2441994"/>
              <a:ext cx="1026579" cy="801817"/>
            </a:xfrm>
            <a:prstGeom prst="roundRect">
              <a:avLst/>
            </a:prstGeom>
            <a:solidFill>
              <a:srgbClr val="0070C0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b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hared Drive / File System</a:t>
              </a:r>
              <a:endParaRPr lang="en-US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1" name="Left-Right Arrow 160"/>
            <p:cNvSpPr/>
            <p:nvPr/>
          </p:nvSpPr>
          <p:spPr>
            <a:xfrm>
              <a:off x="9742762" y="2578969"/>
              <a:ext cx="469627" cy="181977"/>
            </a:xfrm>
            <a:prstGeom prst="leftRightArrow">
              <a:avLst/>
            </a:prstGeom>
            <a:solidFill>
              <a:srgbClr val="7030A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59" name="Left-Right Arrow 158"/>
          <p:cNvSpPr/>
          <p:nvPr/>
        </p:nvSpPr>
        <p:spPr>
          <a:xfrm>
            <a:off x="9649891" y="3245180"/>
            <a:ext cx="469627" cy="181977"/>
          </a:xfrm>
          <a:prstGeom prst="leftRightArrow">
            <a:avLst/>
          </a:prstGeom>
          <a:solidFill>
            <a:srgbClr val="7030A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91981206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41</TotalTime>
  <Words>849</Words>
  <Application>Microsoft Office PowerPoint</Application>
  <PresentationFormat>Widescreen</PresentationFormat>
  <Paragraphs>335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FCCR High Level Architecture Diagram</vt:lpstr>
      <vt:lpstr>FCCR Functional Flow Diagram</vt:lpstr>
      <vt:lpstr>Sundry Invoicing High Level Architecture Diagram</vt:lpstr>
      <vt:lpstr>Sundry Manual Approval Functional Flow Diagram </vt:lpstr>
      <vt:lpstr>Sundry Manual Approval Functional Flow Diagram </vt:lpstr>
      <vt:lpstr>Sundry Manual Approval Functional Flow Diagram </vt:lpstr>
      <vt:lpstr>Sundry Auto-Approval Functional Flow Diagram </vt:lpstr>
      <vt:lpstr>Sundry Invoicing - Logical Architectur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il, Sachin</dc:creator>
  <cp:lastModifiedBy>Patil, Sachin</cp:lastModifiedBy>
  <cp:revision>124</cp:revision>
  <dcterms:created xsi:type="dcterms:W3CDTF">2018-07-31T12:00:51Z</dcterms:created>
  <dcterms:modified xsi:type="dcterms:W3CDTF">2018-08-24T06:06:32Z</dcterms:modified>
</cp:coreProperties>
</file>